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1"/>
    <p:sldMasterId id="2147483804" r:id="rId2"/>
  </p:sldMasterIdLst>
  <p:notesMasterIdLst>
    <p:notesMasterId r:id="rId9"/>
  </p:notesMasterIdLst>
  <p:handoutMasterIdLst>
    <p:handoutMasterId r:id="rId10"/>
  </p:handoutMasterIdLst>
  <p:sldIdLst>
    <p:sldId id="428" r:id="rId3"/>
    <p:sldId id="481" r:id="rId4"/>
    <p:sldId id="527" r:id="rId5"/>
    <p:sldId id="523" r:id="rId6"/>
    <p:sldId id="524" r:id="rId7"/>
    <p:sldId id="526" r:id="rId8"/>
  </p:sldIdLst>
  <p:sldSz cx="12192000" cy="6858000"/>
  <p:notesSz cx="6797675" cy="9926638"/>
  <p:custDataLst>
    <p:tags r:id="rId1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04905FE-DEF9-427E-981D-401EF4845A4B}">
          <p14:sldIdLst>
            <p14:sldId id="428"/>
            <p14:sldId id="481"/>
            <p14:sldId id="527"/>
            <p14:sldId id="523"/>
            <p14:sldId id="524"/>
            <p14:sldId id="526"/>
          </p14:sldIdLst>
        </p14:section>
        <p14:section name="Раздел без заголовка" id="{80F8BEF2-0C21-4F24-AB2E-460394E017C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orient="horz" pos="572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618" userDrawn="1">
          <p15:clr>
            <a:srgbClr val="A4A3A4"/>
          </p15:clr>
        </p15:guide>
        <p15:guide id="5" orient="horz" pos="4065" userDrawn="1">
          <p15:clr>
            <a:srgbClr val="A4A3A4"/>
          </p15:clr>
        </p15:guide>
        <p15:guide id="6" orient="horz" pos="3929" userDrawn="1">
          <p15:clr>
            <a:srgbClr val="A4A3A4"/>
          </p15:clr>
        </p15:guide>
        <p15:guide id="7" orient="horz" pos="4222" userDrawn="1">
          <p15:clr>
            <a:srgbClr val="A4A3A4"/>
          </p15:clr>
        </p15:guide>
        <p15:guide id="8" orient="horz" pos="2387" userDrawn="1">
          <p15:clr>
            <a:srgbClr val="A4A3A4"/>
          </p15:clr>
        </p15:guide>
        <p15:guide id="9" orient="horz" pos="1933" userDrawn="1">
          <p15:clr>
            <a:srgbClr val="A4A3A4"/>
          </p15:clr>
        </p15:guide>
        <p15:guide id="10" orient="horz" pos="1162" userDrawn="1">
          <p15:clr>
            <a:srgbClr val="A4A3A4"/>
          </p15:clr>
        </p15:guide>
        <p15:guide id="11" pos="3840" userDrawn="1">
          <p15:clr>
            <a:srgbClr val="A4A3A4"/>
          </p15:clr>
        </p15:guide>
        <p15:guide id="12" pos="1588" userDrawn="1">
          <p15:clr>
            <a:srgbClr val="A4A3A4"/>
          </p15:clr>
        </p15:guide>
        <p15:guide id="13" pos="7469" userDrawn="1">
          <p15:clr>
            <a:srgbClr val="A4A3A4"/>
          </p15:clr>
        </p15:guide>
        <p15:guide id="14" pos="3961" userDrawn="1">
          <p15:clr>
            <a:srgbClr val="A4A3A4"/>
          </p15:clr>
        </p15:guide>
        <p15:guide id="15" pos="3356" userDrawn="1">
          <p15:clr>
            <a:srgbClr val="A4A3A4"/>
          </p15:clr>
        </p15:guide>
        <p15:guide id="16" pos="2509" userDrawn="1">
          <p15:clr>
            <a:srgbClr val="A4A3A4"/>
          </p15:clr>
        </p15:guide>
        <p15:guide id="17" pos="2752" userDrawn="1">
          <p15:clr>
            <a:srgbClr val="A4A3A4"/>
          </p15:clr>
        </p15:guide>
        <p15:guide id="18" pos="4928" userDrawn="1">
          <p15:clr>
            <a:srgbClr val="A4A3A4"/>
          </p15:clr>
        </p15:guide>
        <p15:guide id="19" pos="6199" userDrawn="1">
          <p15:clr>
            <a:srgbClr val="A4A3A4"/>
          </p15:clr>
        </p15:guide>
        <p15:guide id="20" orient="horz" pos="2069" userDrawn="1">
          <p15:clr>
            <a:srgbClr val="A4A3A4"/>
          </p15:clr>
        </p15:guide>
        <p15:guide id="21" pos="575" userDrawn="1">
          <p15:clr>
            <a:srgbClr val="A4A3A4"/>
          </p15:clr>
        </p15:guide>
        <p15:guide id="22" pos="816" userDrawn="1">
          <p15:clr>
            <a:srgbClr val="A4A3A4"/>
          </p15:clr>
        </p15:guide>
        <p15:guide id="23" pos="3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66"/>
    <a:srgbClr val="9CBADC"/>
    <a:srgbClr val="006600"/>
    <a:srgbClr val="339933"/>
    <a:srgbClr val="CBD0DD"/>
    <a:srgbClr val="E7E9EF"/>
    <a:srgbClr val="B0DD7F"/>
    <a:srgbClr val="0F3C3C"/>
    <a:srgbClr val="F0C3C3"/>
    <a:srgbClr val="99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95512" autoAdjust="0"/>
  </p:normalViewPr>
  <p:slideViewPr>
    <p:cSldViewPr>
      <p:cViewPr varScale="1">
        <p:scale>
          <a:sx n="107" d="100"/>
          <a:sy n="107" d="100"/>
        </p:scale>
        <p:origin x="618" y="114"/>
      </p:cViewPr>
      <p:guideLst>
        <p:guide orient="horz" pos="935"/>
        <p:guide orient="horz" pos="572"/>
        <p:guide orient="horz" pos="210"/>
        <p:guide orient="horz" pos="618"/>
        <p:guide orient="horz" pos="4065"/>
        <p:guide orient="horz" pos="3929"/>
        <p:guide orient="horz" pos="4222"/>
        <p:guide orient="horz" pos="2387"/>
        <p:guide orient="horz" pos="1933"/>
        <p:guide orient="horz" pos="1162"/>
        <p:guide pos="3840"/>
        <p:guide pos="1588"/>
        <p:guide pos="7469"/>
        <p:guide pos="3961"/>
        <p:guide pos="3356"/>
        <p:guide pos="2509"/>
        <p:guide pos="2752"/>
        <p:guide pos="4928"/>
        <p:guide pos="6199"/>
        <p:guide orient="horz" pos="2069"/>
        <p:guide pos="575"/>
        <p:guide pos="816"/>
        <p:guide pos="332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7" d="100"/>
          <a:sy n="77" d="100"/>
        </p:scale>
        <p:origin x="274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862" cy="497334"/>
          </a:xfrm>
          <a:prstGeom prst="rect">
            <a:avLst/>
          </a:prstGeom>
        </p:spPr>
        <p:txBody>
          <a:bodyPr vert="horz" lIns="87947" tIns="43973" rIns="87947" bIns="43973" rtlCol="0"/>
          <a:lstStyle>
            <a:lvl1pPr algn="l">
              <a:defRPr sz="1200"/>
            </a:lvl1pPr>
          </a:lstStyle>
          <a:p>
            <a:endParaRPr lang="ru-RU" dirty="0">
              <a:latin typeface="Tahoma" panose="020B0604030504040204" pitchFamily="34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294" y="0"/>
            <a:ext cx="2945862" cy="497334"/>
          </a:xfrm>
          <a:prstGeom prst="rect">
            <a:avLst/>
          </a:prstGeom>
        </p:spPr>
        <p:txBody>
          <a:bodyPr vert="horz" lIns="87947" tIns="43973" rIns="87947" bIns="43973" rtlCol="0"/>
          <a:lstStyle>
            <a:lvl1pPr algn="r">
              <a:defRPr sz="1200"/>
            </a:lvl1pPr>
          </a:lstStyle>
          <a:p>
            <a:fld id="{A8F5A995-6E4F-41DD-906E-A281E73776A4}" type="datetimeFigureOut">
              <a:rPr lang="ru-RU" smtClean="0">
                <a:latin typeface="Tahoma" panose="020B0604030504040204" pitchFamily="34" charset="0"/>
              </a:rPr>
              <a:t>05.04.2017</a:t>
            </a:fld>
            <a:endParaRPr lang="ru-RU" dirty="0">
              <a:latin typeface="Tahoma" panose="020B0604030504040204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306"/>
            <a:ext cx="2945862" cy="497334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endParaRPr lang="ru-RU" dirty="0">
              <a:latin typeface="Tahoma" panose="020B060403050404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294" y="9429306"/>
            <a:ext cx="2945862" cy="497334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0B3F409D-6B22-4D45-96EA-05DA306F63DF}" type="slidenum">
              <a:rPr lang="ru-RU" smtClean="0">
                <a:latin typeface="Tahoma" panose="020B0604030504040204" pitchFamily="34" charset="0"/>
              </a:rPr>
              <a:t>‹#›</a:t>
            </a:fld>
            <a:endParaRPr lang="ru-RU" dirty="0"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049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>
                <a:latin typeface="Tahom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>
                <a:latin typeface="Tahoma" panose="020B0604030504040204" pitchFamily="34" charset="0"/>
              </a:defRPr>
            </a:lvl1pPr>
          </a:lstStyle>
          <a:p>
            <a:fld id="{3F71E19E-30FF-490B-93BE-47293D4A8D69}" type="datetimeFigureOut">
              <a:rPr lang="ru-RU" smtClean="0"/>
              <a:pPr/>
              <a:t>05.04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5264" tIns="47632" rIns="95264" bIns="47632" rtlCol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>
                <a:latin typeface="Tahom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>
                <a:latin typeface="Tahoma" panose="020B0604030504040204" pitchFamily="34" charset="0"/>
              </a:defRPr>
            </a:lvl1pPr>
          </a:lstStyle>
          <a:p>
            <a:fld id="{1CE8C094-7F32-46EA-9630-2582905A5BA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140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E8C094-7F32-46EA-9630-2582905A5BA4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85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 с заменямы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1"/>
          <p:cNvSpPr>
            <a:spLocks noGrp="1"/>
          </p:cNvSpPr>
          <p:nvPr>
            <p:ph type="pic" sz="quarter" idx="13"/>
          </p:nvPr>
        </p:nvSpPr>
        <p:spPr>
          <a:xfrm>
            <a:off x="916801" y="315913"/>
            <a:ext cx="11275199" cy="376278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8209" y="2675660"/>
            <a:ext cx="2146500" cy="714667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208883" y="4392033"/>
            <a:ext cx="8567172" cy="560968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2208883" y="5120006"/>
            <a:ext cx="3574617" cy="2159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Статус реализации проекта</a:t>
            </a:r>
            <a:endParaRPr lang="ru-RU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2208883" y="5340346"/>
            <a:ext cx="3574617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baseline="0" smtClean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дд/мм/гггг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427409" y="5980903"/>
            <a:ext cx="3576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Департамент</a:t>
            </a:r>
            <a:endParaRPr lang="ru-RU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2427409" y="6100679"/>
            <a:ext cx="3576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Город</a:t>
            </a:r>
            <a:endParaRPr lang="ru-RU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8" hasCustomPrompt="1"/>
          </p:nvPr>
        </p:nvSpPr>
        <p:spPr>
          <a:xfrm>
            <a:off x="2427411" y="6597650"/>
            <a:ext cx="144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Экз. №</a:t>
            </a:r>
          </a:p>
        </p:txBody>
      </p:sp>
      <p:cxnSp>
        <p:nvCxnSpPr>
          <p:cNvPr id="25" name="Прямая соединительная линия 24"/>
          <p:cNvCxnSpPr/>
          <p:nvPr userDrawn="1"/>
        </p:nvCxnSpPr>
        <p:spPr>
          <a:xfrm>
            <a:off x="2218457" y="5997476"/>
            <a:ext cx="0" cy="7056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9345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Объект 9"/>
          <p:cNvSpPr>
            <a:spLocks noGrp="1"/>
          </p:cNvSpPr>
          <p:nvPr>
            <p:ph sz="quarter" idx="23"/>
          </p:nvPr>
        </p:nvSpPr>
        <p:spPr>
          <a:xfrm>
            <a:off x="6274068" y="1216471"/>
            <a:ext cx="5544000" cy="2502000"/>
          </a:xfrm>
          <a:custGeom>
            <a:avLst/>
            <a:gdLst>
              <a:gd name="connsiteX0" fmla="*/ 148403 w 3204000"/>
              <a:gd name="connsiteY0" fmla="*/ 0 h 2808000"/>
              <a:gd name="connsiteX1" fmla="*/ 3055597 w 3204000"/>
              <a:gd name="connsiteY1" fmla="*/ 0 h 2808000"/>
              <a:gd name="connsiteX2" fmla="*/ 3204000 w 3204000"/>
              <a:gd name="connsiteY2" fmla="*/ 148403 h 2808000"/>
              <a:gd name="connsiteX3" fmla="*/ 3204000 w 3204000"/>
              <a:gd name="connsiteY3" fmla="*/ 2808000 h 2808000"/>
              <a:gd name="connsiteX4" fmla="*/ 320400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2808000 h 2808000"/>
              <a:gd name="connsiteX7" fmla="*/ 0 w 3204000"/>
              <a:gd name="connsiteY7" fmla="*/ 148403 h 2808000"/>
              <a:gd name="connsiteX8" fmla="*/ 148403 w 3204000"/>
              <a:gd name="connsiteY8" fmla="*/ 0 h 2808000"/>
              <a:gd name="connsiteX0" fmla="*/ 148403 w 3204000"/>
              <a:gd name="connsiteY0" fmla="*/ 0 h 2808000"/>
              <a:gd name="connsiteX1" fmla="*/ 3204000 w 3204000"/>
              <a:gd name="connsiteY1" fmla="*/ 14840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0 h 2808000"/>
              <a:gd name="connsiteX1" fmla="*/ 3197650 w 3204000"/>
              <a:gd name="connsiteY1" fmla="*/ 870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3997 h 2811997"/>
              <a:gd name="connsiteX1" fmla="*/ 3197650 w 3204000"/>
              <a:gd name="connsiteY1" fmla="*/ 0 h 2811997"/>
              <a:gd name="connsiteX2" fmla="*/ 3204000 w 3204000"/>
              <a:gd name="connsiteY2" fmla="*/ 2811997 h 2811997"/>
              <a:gd name="connsiteX3" fmla="*/ 3204000 w 3204000"/>
              <a:gd name="connsiteY3" fmla="*/ 2811997 h 2811997"/>
              <a:gd name="connsiteX4" fmla="*/ 0 w 3204000"/>
              <a:gd name="connsiteY4" fmla="*/ 2811997 h 2811997"/>
              <a:gd name="connsiteX5" fmla="*/ 0 w 3204000"/>
              <a:gd name="connsiteY5" fmla="*/ 2811997 h 2811997"/>
              <a:gd name="connsiteX6" fmla="*/ 0 w 3204000"/>
              <a:gd name="connsiteY6" fmla="*/ 152400 h 2811997"/>
              <a:gd name="connsiteX7" fmla="*/ 148403 w 3204000"/>
              <a:gd name="connsiteY7" fmla="*/ 3997 h 2811997"/>
              <a:gd name="connsiteX0" fmla="*/ 148403 w 3204000"/>
              <a:gd name="connsiteY0" fmla="*/ 0 h 2808000"/>
              <a:gd name="connsiteX1" fmla="*/ 3197650 w 3204000"/>
              <a:gd name="connsiteY1" fmla="*/ 1505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0 h 2808000"/>
              <a:gd name="connsiteX1" fmla="*/ 3197650 w 3204000"/>
              <a:gd name="connsiteY1" fmla="*/ 1505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0 h 2808000"/>
              <a:gd name="connsiteX1" fmla="*/ 3197650 w 3204000"/>
              <a:gd name="connsiteY1" fmla="*/ 235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04000" h="2808000">
                <a:moveTo>
                  <a:pt x="148403" y="0"/>
                </a:moveTo>
                <a:lnTo>
                  <a:pt x="3197650" y="2353"/>
                </a:lnTo>
                <a:cubicBezTo>
                  <a:pt x="3199767" y="935452"/>
                  <a:pt x="3201883" y="1874901"/>
                  <a:pt x="3204000" y="2808000"/>
                </a:cubicBezTo>
                <a:lnTo>
                  <a:pt x="3204000" y="2808000"/>
                </a:lnTo>
                <a:lnTo>
                  <a:pt x="0" y="2808000"/>
                </a:lnTo>
                <a:lnTo>
                  <a:pt x="0" y="2808000"/>
                </a:lnTo>
                <a:lnTo>
                  <a:pt x="0" y="148403"/>
                </a:lnTo>
                <a:cubicBezTo>
                  <a:pt x="0" y="66442"/>
                  <a:pt x="66442" y="0"/>
                  <a:pt x="148403" y="0"/>
                </a:cubicBezTo>
                <a:close/>
              </a:path>
            </a:pathLst>
          </a:cu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5"/>
            <a:ext cx="5520267" cy="509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4068" y="3070025"/>
            <a:ext cx="5544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4068" y="5660725"/>
            <a:ext cx="5544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5" name="Объект 9"/>
          <p:cNvSpPr>
            <a:spLocks noGrp="1"/>
          </p:cNvSpPr>
          <p:nvPr>
            <p:ph sz="quarter" idx="24"/>
          </p:nvPr>
        </p:nvSpPr>
        <p:spPr>
          <a:xfrm>
            <a:off x="6274068" y="3806725"/>
            <a:ext cx="5544000" cy="2502000"/>
          </a:xfrm>
          <a:custGeom>
            <a:avLst/>
            <a:gdLst>
              <a:gd name="connsiteX0" fmla="*/ 148403 w 3204000"/>
              <a:gd name="connsiteY0" fmla="*/ 0 h 2808000"/>
              <a:gd name="connsiteX1" fmla="*/ 3055597 w 3204000"/>
              <a:gd name="connsiteY1" fmla="*/ 0 h 2808000"/>
              <a:gd name="connsiteX2" fmla="*/ 3204000 w 3204000"/>
              <a:gd name="connsiteY2" fmla="*/ 148403 h 2808000"/>
              <a:gd name="connsiteX3" fmla="*/ 3204000 w 3204000"/>
              <a:gd name="connsiteY3" fmla="*/ 2808000 h 2808000"/>
              <a:gd name="connsiteX4" fmla="*/ 320400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2808000 h 2808000"/>
              <a:gd name="connsiteX7" fmla="*/ 0 w 3204000"/>
              <a:gd name="connsiteY7" fmla="*/ 148403 h 2808000"/>
              <a:gd name="connsiteX8" fmla="*/ 148403 w 3204000"/>
              <a:gd name="connsiteY8" fmla="*/ 0 h 2808000"/>
              <a:gd name="connsiteX0" fmla="*/ 148403 w 3204000"/>
              <a:gd name="connsiteY0" fmla="*/ 0 h 2808000"/>
              <a:gd name="connsiteX1" fmla="*/ 3204000 w 3204000"/>
              <a:gd name="connsiteY1" fmla="*/ 14840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0 h 2808000"/>
              <a:gd name="connsiteX1" fmla="*/ 3197650 w 3204000"/>
              <a:gd name="connsiteY1" fmla="*/ 870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3997 h 2811997"/>
              <a:gd name="connsiteX1" fmla="*/ 3197650 w 3204000"/>
              <a:gd name="connsiteY1" fmla="*/ 0 h 2811997"/>
              <a:gd name="connsiteX2" fmla="*/ 3204000 w 3204000"/>
              <a:gd name="connsiteY2" fmla="*/ 2811997 h 2811997"/>
              <a:gd name="connsiteX3" fmla="*/ 3204000 w 3204000"/>
              <a:gd name="connsiteY3" fmla="*/ 2811997 h 2811997"/>
              <a:gd name="connsiteX4" fmla="*/ 0 w 3204000"/>
              <a:gd name="connsiteY4" fmla="*/ 2811997 h 2811997"/>
              <a:gd name="connsiteX5" fmla="*/ 0 w 3204000"/>
              <a:gd name="connsiteY5" fmla="*/ 2811997 h 2811997"/>
              <a:gd name="connsiteX6" fmla="*/ 0 w 3204000"/>
              <a:gd name="connsiteY6" fmla="*/ 152400 h 2811997"/>
              <a:gd name="connsiteX7" fmla="*/ 148403 w 3204000"/>
              <a:gd name="connsiteY7" fmla="*/ 3997 h 2811997"/>
              <a:gd name="connsiteX0" fmla="*/ 148403 w 3204000"/>
              <a:gd name="connsiteY0" fmla="*/ 0 h 2808000"/>
              <a:gd name="connsiteX1" fmla="*/ 3197650 w 3204000"/>
              <a:gd name="connsiteY1" fmla="*/ 1505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0 h 2808000"/>
              <a:gd name="connsiteX1" fmla="*/ 3197650 w 3204000"/>
              <a:gd name="connsiteY1" fmla="*/ 1505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0 h 2808000"/>
              <a:gd name="connsiteX1" fmla="*/ 3197650 w 3204000"/>
              <a:gd name="connsiteY1" fmla="*/ 235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04000" h="2808000">
                <a:moveTo>
                  <a:pt x="148403" y="0"/>
                </a:moveTo>
                <a:lnTo>
                  <a:pt x="3197650" y="2353"/>
                </a:lnTo>
                <a:cubicBezTo>
                  <a:pt x="3199767" y="935452"/>
                  <a:pt x="3201883" y="1874901"/>
                  <a:pt x="3204000" y="2808000"/>
                </a:cubicBezTo>
                <a:lnTo>
                  <a:pt x="3204000" y="2808000"/>
                </a:lnTo>
                <a:lnTo>
                  <a:pt x="0" y="2808000"/>
                </a:lnTo>
                <a:lnTo>
                  <a:pt x="0" y="2808000"/>
                </a:lnTo>
                <a:lnTo>
                  <a:pt x="0" y="148403"/>
                </a:lnTo>
                <a:cubicBezTo>
                  <a:pt x="0" y="66442"/>
                  <a:pt x="66442" y="0"/>
                  <a:pt x="148403" y="0"/>
                </a:cubicBezTo>
                <a:close/>
              </a:path>
            </a:pathLst>
          </a:cu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09130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(горизон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бъект 9"/>
          <p:cNvSpPr>
            <a:spLocks noGrp="1"/>
          </p:cNvSpPr>
          <p:nvPr>
            <p:ph sz="quarter" idx="23"/>
          </p:nvPr>
        </p:nvSpPr>
        <p:spPr>
          <a:xfrm>
            <a:off x="374651" y="3500604"/>
            <a:ext cx="4272000" cy="2808000"/>
          </a:xfrm>
          <a:custGeom>
            <a:avLst/>
            <a:gdLst>
              <a:gd name="connsiteX0" fmla="*/ 148403 w 3204000"/>
              <a:gd name="connsiteY0" fmla="*/ 0 h 2808000"/>
              <a:gd name="connsiteX1" fmla="*/ 3055597 w 3204000"/>
              <a:gd name="connsiteY1" fmla="*/ 0 h 2808000"/>
              <a:gd name="connsiteX2" fmla="*/ 3204000 w 3204000"/>
              <a:gd name="connsiteY2" fmla="*/ 148403 h 2808000"/>
              <a:gd name="connsiteX3" fmla="*/ 3204000 w 3204000"/>
              <a:gd name="connsiteY3" fmla="*/ 2808000 h 2808000"/>
              <a:gd name="connsiteX4" fmla="*/ 320400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2808000 h 2808000"/>
              <a:gd name="connsiteX7" fmla="*/ 0 w 3204000"/>
              <a:gd name="connsiteY7" fmla="*/ 148403 h 2808000"/>
              <a:gd name="connsiteX8" fmla="*/ 148403 w 3204000"/>
              <a:gd name="connsiteY8" fmla="*/ 0 h 2808000"/>
              <a:gd name="connsiteX0" fmla="*/ 148403 w 3204000"/>
              <a:gd name="connsiteY0" fmla="*/ 0 h 2808000"/>
              <a:gd name="connsiteX1" fmla="*/ 3204000 w 3204000"/>
              <a:gd name="connsiteY1" fmla="*/ 14840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0 h 2808000"/>
              <a:gd name="connsiteX1" fmla="*/ 3197650 w 3204000"/>
              <a:gd name="connsiteY1" fmla="*/ 870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3997 h 2811997"/>
              <a:gd name="connsiteX1" fmla="*/ 3197650 w 3204000"/>
              <a:gd name="connsiteY1" fmla="*/ 0 h 2811997"/>
              <a:gd name="connsiteX2" fmla="*/ 3204000 w 3204000"/>
              <a:gd name="connsiteY2" fmla="*/ 2811997 h 2811997"/>
              <a:gd name="connsiteX3" fmla="*/ 3204000 w 3204000"/>
              <a:gd name="connsiteY3" fmla="*/ 2811997 h 2811997"/>
              <a:gd name="connsiteX4" fmla="*/ 0 w 3204000"/>
              <a:gd name="connsiteY4" fmla="*/ 2811997 h 2811997"/>
              <a:gd name="connsiteX5" fmla="*/ 0 w 3204000"/>
              <a:gd name="connsiteY5" fmla="*/ 2811997 h 2811997"/>
              <a:gd name="connsiteX6" fmla="*/ 0 w 3204000"/>
              <a:gd name="connsiteY6" fmla="*/ 152400 h 2811997"/>
              <a:gd name="connsiteX7" fmla="*/ 148403 w 3204000"/>
              <a:gd name="connsiteY7" fmla="*/ 3997 h 2811997"/>
              <a:gd name="connsiteX0" fmla="*/ 148403 w 3204000"/>
              <a:gd name="connsiteY0" fmla="*/ 0 h 2808000"/>
              <a:gd name="connsiteX1" fmla="*/ 3197650 w 3204000"/>
              <a:gd name="connsiteY1" fmla="*/ 1505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0 h 2808000"/>
              <a:gd name="connsiteX1" fmla="*/ 3197650 w 3204000"/>
              <a:gd name="connsiteY1" fmla="*/ 1505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  <a:gd name="connsiteX0" fmla="*/ 148403 w 3204000"/>
              <a:gd name="connsiteY0" fmla="*/ 0 h 2808000"/>
              <a:gd name="connsiteX1" fmla="*/ 3197650 w 3204000"/>
              <a:gd name="connsiteY1" fmla="*/ 2353 h 2808000"/>
              <a:gd name="connsiteX2" fmla="*/ 3204000 w 3204000"/>
              <a:gd name="connsiteY2" fmla="*/ 2808000 h 2808000"/>
              <a:gd name="connsiteX3" fmla="*/ 3204000 w 3204000"/>
              <a:gd name="connsiteY3" fmla="*/ 2808000 h 2808000"/>
              <a:gd name="connsiteX4" fmla="*/ 0 w 3204000"/>
              <a:gd name="connsiteY4" fmla="*/ 2808000 h 2808000"/>
              <a:gd name="connsiteX5" fmla="*/ 0 w 3204000"/>
              <a:gd name="connsiteY5" fmla="*/ 2808000 h 2808000"/>
              <a:gd name="connsiteX6" fmla="*/ 0 w 3204000"/>
              <a:gd name="connsiteY6" fmla="*/ 148403 h 2808000"/>
              <a:gd name="connsiteX7" fmla="*/ 148403 w 3204000"/>
              <a:gd name="connsiteY7" fmla="*/ 0 h 28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04000" h="2808000">
                <a:moveTo>
                  <a:pt x="148403" y="0"/>
                </a:moveTo>
                <a:lnTo>
                  <a:pt x="3197650" y="2353"/>
                </a:lnTo>
                <a:cubicBezTo>
                  <a:pt x="3199767" y="935452"/>
                  <a:pt x="3201883" y="1874901"/>
                  <a:pt x="3204000" y="2808000"/>
                </a:cubicBezTo>
                <a:lnTo>
                  <a:pt x="3204000" y="2808000"/>
                </a:lnTo>
                <a:lnTo>
                  <a:pt x="0" y="2808000"/>
                </a:lnTo>
                <a:lnTo>
                  <a:pt x="0" y="2808000"/>
                </a:lnTo>
                <a:lnTo>
                  <a:pt x="0" y="148403"/>
                </a:lnTo>
                <a:cubicBezTo>
                  <a:pt x="0" y="66442"/>
                  <a:pt x="66442" y="0"/>
                  <a:pt x="148403" y="0"/>
                </a:cubicBezTo>
                <a:close/>
              </a:path>
            </a:pathLst>
          </a:cu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Объект 9"/>
          <p:cNvSpPr>
            <a:spLocks noGrp="1"/>
          </p:cNvSpPr>
          <p:nvPr>
            <p:ph sz="quarter" idx="22"/>
          </p:nvPr>
        </p:nvSpPr>
        <p:spPr>
          <a:xfrm>
            <a:off x="4992065" y="3500604"/>
            <a:ext cx="6816000" cy="2808000"/>
          </a:xfrm>
          <a:prstGeom prst="round1Rect">
            <a:avLst>
              <a:gd name="adj" fmla="val 5601"/>
            </a:avLst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6" y="1216024"/>
            <a:ext cx="11424000" cy="2124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74651" y="5660604"/>
            <a:ext cx="427118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992064" y="5660604"/>
            <a:ext cx="6814971" cy="648000"/>
          </a:xfrm>
          <a:prstGeom prst="round1Rect">
            <a:avLst>
              <a:gd name="adj" fmla="val 13010"/>
            </a:avLst>
          </a:pr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Подпис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0494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(горизонт.)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4000" y="1665372"/>
            <a:ext cx="11424000" cy="1728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9"/>
          </p:nvPr>
        </p:nvSpPr>
        <p:spPr>
          <a:xfrm>
            <a:off x="5001351" y="3978716"/>
            <a:ext cx="6816000" cy="2330008"/>
          </a:xfrm>
        </p:spPr>
        <p:txBody>
          <a:bodyPr/>
          <a:lstStyle/>
          <a:p>
            <a:pPr lvl="0"/>
            <a:endParaRPr lang="ru-RU" dirty="0"/>
          </a:p>
        </p:txBody>
      </p:sp>
      <p:sp>
        <p:nvSpPr>
          <p:cNvPr id="11" name="Объект 4"/>
          <p:cNvSpPr>
            <a:spLocks noGrp="1"/>
          </p:cNvSpPr>
          <p:nvPr>
            <p:ph sz="quarter" idx="20"/>
          </p:nvPr>
        </p:nvSpPr>
        <p:spPr>
          <a:xfrm>
            <a:off x="374651" y="3978716"/>
            <a:ext cx="4269885" cy="2330008"/>
          </a:xfrm>
        </p:spPr>
        <p:txBody>
          <a:bodyPr/>
          <a:lstStyle/>
          <a:p>
            <a:pPr lvl="0"/>
            <a:endParaRPr lang="ru-RU" dirty="0"/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3494691"/>
            <a:ext cx="4272000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374652" y="3934347"/>
            <a:ext cx="427159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 userDrawn="1"/>
        </p:nvCxnSpPr>
        <p:spPr>
          <a:xfrm>
            <a:off x="5001351" y="3934347"/>
            <a:ext cx="680365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Текст 16"/>
          <p:cNvSpPr>
            <a:spLocks noGrp="1"/>
          </p:cNvSpPr>
          <p:nvPr>
            <p:ph type="body" sz="quarter" idx="18"/>
          </p:nvPr>
        </p:nvSpPr>
        <p:spPr>
          <a:xfrm>
            <a:off x="5001352" y="3494691"/>
            <a:ext cx="6814417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2" name="Текст 16"/>
          <p:cNvSpPr>
            <a:spLocks noGrp="1"/>
          </p:cNvSpPr>
          <p:nvPr>
            <p:ph type="body" sz="quarter" idx="21"/>
          </p:nvPr>
        </p:nvSpPr>
        <p:spPr>
          <a:xfrm>
            <a:off x="374650" y="1216025"/>
            <a:ext cx="1143035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09895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изображение (горизон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6"/>
            <a:ext cx="5520267" cy="185293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9"/>
          <p:cNvSpPr>
            <a:spLocks noGrp="1"/>
          </p:cNvSpPr>
          <p:nvPr>
            <p:ph sz="quarter" idx="20"/>
          </p:nvPr>
        </p:nvSpPr>
        <p:spPr>
          <a:xfrm>
            <a:off x="6288618" y="1216026"/>
            <a:ext cx="5522381" cy="185293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78951" y="5660604"/>
            <a:ext cx="114384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3852 w 3720294"/>
              <a:gd name="connsiteY6" fmla="*/ 161268 h 648000"/>
              <a:gd name="connsiteX7" fmla="*/ 108002 w 3720294"/>
              <a:gd name="connsiteY7" fmla="*/ 0 h 648000"/>
              <a:gd name="connsiteX0" fmla="*/ 88741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3852 w 3720294"/>
              <a:gd name="connsiteY6" fmla="*/ 161268 h 648000"/>
              <a:gd name="connsiteX7" fmla="*/ 88741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88741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cubicBezTo>
                  <a:pt x="0" y="468001"/>
                  <a:pt x="3852" y="341267"/>
                  <a:pt x="3852" y="161268"/>
                </a:cubicBezTo>
                <a:cubicBezTo>
                  <a:pt x="3852" y="101620"/>
                  <a:pt x="29093" y="0"/>
                  <a:pt x="88741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1" name="Объект 9"/>
          <p:cNvSpPr>
            <a:spLocks noGrp="1"/>
          </p:cNvSpPr>
          <p:nvPr>
            <p:ph sz="quarter" idx="21"/>
          </p:nvPr>
        </p:nvSpPr>
        <p:spPr>
          <a:xfrm>
            <a:off x="380249" y="3170799"/>
            <a:ext cx="11438400" cy="3139546"/>
          </a:xfrm>
          <a:custGeom>
            <a:avLst/>
            <a:gdLst>
              <a:gd name="connsiteX0" fmla="*/ 167504 w 8578800"/>
              <a:gd name="connsiteY0" fmla="*/ 0 h 3135600"/>
              <a:gd name="connsiteX1" fmla="*/ 8411296 w 8578800"/>
              <a:gd name="connsiteY1" fmla="*/ 0 h 3135600"/>
              <a:gd name="connsiteX2" fmla="*/ 8578800 w 8578800"/>
              <a:gd name="connsiteY2" fmla="*/ 167504 h 3135600"/>
              <a:gd name="connsiteX3" fmla="*/ 8578800 w 8578800"/>
              <a:gd name="connsiteY3" fmla="*/ 3135600 h 3135600"/>
              <a:gd name="connsiteX4" fmla="*/ 8578800 w 8578800"/>
              <a:gd name="connsiteY4" fmla="*/ 3135600 h 3135600"/>
              <a:gd name="connsiteX5" fmla="*/ 0 w 8578800"/>
              <a:gd name="connsiteY5" fmla="*/ 3135600 h 3135600"/>
              <a:gd name="connsiteX6" fmla="*/ 0 w 8578800"/>
              <a:gd name="connsiteY6" fmla="*/ 3135600 h 3135600"/>
              <a:gd name="connsiteX7" fmla="*/ 0 w 8578800"/>
              <a:gd name="connsiteY7" fmla="*/ 167504 h 3135600"/>
              <a:gd name="connsiteX8" fmla="*/ 167504 w 8578800"/>
              <a:gd name="connsiteY8" fmla="*/ 0 h 3135600"/>
              <a:gd name="connsiteX0" fmla="*/ 167504 w 8578800"/>
              <a:gd name="connsiteY0" fmla="*/ 0 h 3135600"/>
              <a:gd name="connsiteX1" fmla="*/ 8578800 w 8578800"/>
              <a:gd name="connsiteY1" fmla="*/ 167504 h 3135600"/>
              <a:gd name="connsiteX2" fmla="*/ 8578800 w 8578800"/>
              <a:gd name="connsiteY2" fmla="*/ 3135600 h 3135600"/>
              <a:gd name="connsiteX3" fmla="*/ 8578800 w 8578800"/>
              <a:gd name="connsiteY3" fmla="*/ 3135600 h 3135600"/>
              <a:gd name="connsiteX4" fmla="*/ 0 w 8578800"/>
              <a:gd name="connsiteY4" fmla="*/ 3135600 h 3135600"/>
              <a:gd name="connsiteX5" fmla="*/ 0 w 8578800"/>
              <a:gd name="connsiteY5" fmla="*/ 3135600 h 3135600"/>
              <a:gd name="connsiteX6" fmla="*/ 0 w 8578800"/>
              <a:gd name="connsiteY6" fmla="*/ 167504 h 3135600"/>
              <a:gd name="connsiteX7" fmla="*/ 167504 w 8578800"/>
              <a:gd name="connsiteY7" fmla="*/ 0 h 3135600"/>
              <a:gd name="connsiteX0" fmla="*/ 167504 w 8578800"/>
              <a:gd name="connsiteY0" fmla="*/ 3946 h 3139546"/>
              <a:gd name="connsiteX1" fmla="*/ 8578800 w 8578800"/>
              <a:gd name="connsiteY1" fmla="*/ 0 h 3139546"/>
              <a:gd name="connsiteX2" fmla="*/ 8578800 w 8578800"/>
              <a:gd name="connsiteY2" fmla="*/ 3139546 h 3139546"/>
              <a:gd name="connsiteX3" fmla="*/ 8578800 w 8578800"/>
              <a:gd name="connsiteY3" fmla="*/ 3139546 h 3139546"/>
              <a:gd name="connsiteX4" fmla="*/ 0 w 8578800"/>
              <a:gd name="connsiteY4" fmla="*/ 3139546 h 3139546"/>
              <a:gd name="connsiteX5" fmla="*/ 0 w 8578800"/>
              <a:gd name="connsiteY5" fmla="*/ 3139546 h 3139546"/>
              <a:gd name="connsiteX6" fmla="*/ 0 w 8578800"/>
              <a:gd name="connsiteY6" fmla="*/ 171450 h 3139546"/>
              <a:gd name="connsiteX7" fmla="*/ 167504 w 8578800"/>
              <a:gd name="connsiteY7" fmla="*/ 3946 h 313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78800" h="3139546">
                <a:moveTo>
                  <a:pt x="167504" y="3946"/>
                </a:moveTo>
                <a:lnTo>
                  <a:pt x="8578800" y="0"/>
                </a:lnTo>
                <a:lnTo>
                  <a:pt x="8578800" y="3139546"/>
                </a:lnTo>
                <a:lnTo>
                  <a:pt x="8578800" y="3139546"/>
                </a:lnTo>
                <a:lnTo>
                  <a:pt x="0" y="3139546"/>
                </a:lnTo>
                <a:lnTo>
                  <a:pt x="0" y="3139546"/>
                </a:lnTo>
                <a:lnTo>
                  <a:pt x="0" y="171450"/>
                </a:lnTo>
                <a:cubicBezTo>
                  <a:pt x="0" y="78940"/>
                  <a:pt x="74994" y="3946"/>
                  <a:pt x="167504" y="3946"/>
                </a:cubicBezTo>
                <a:close/>
              </a:path>
            </a:pathLst>
          </a:cu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03925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4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7" y="3789320"/>
            <a:ext cx="5520267" cy="2520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Объект 9"/>
          <p:cNvSpPr>
            <a:spLocks noGrp="1"/>
          </p:cNvSpPr>
          <p:nvPr>
            <p:ph sz="quarter" idx="19"/>
          </p:nvPr>
        </p:nvSpPr>
        <p:spPr>
          <a:xfrm>
            <a:off x="6288617" y="1216024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9"/>
          <p:cNvSpPr>
            <a:spLocks noGrp="1"/>
          </p:cNvSpPr>
          <p:nvPr>
            <p:ph sz="quarter" idx="20"/>
          </p:nvPr>
        </p:nvSpPr>
        <p:spPr>
          <a:xfrm>
            <a:off x="6286768" y="3789320"/>
            <a:ext cx="5520267" cy="2520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75661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74651" y="1637925"/>
            <a:ext cx="5520267" cy="2088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9"/>
          <p:cNvSpPr>
            <a:spLocks noGrp="1"/>
          </p:cNvSpPr>
          <p:nvPr>
            <p:ph sz="quarter" idx="19"/>
          </p:nvPr>
        </p:nvSpPr>
        <p:spPr>
          <a:xfrm>
            <a:off x="6287035" y="1637925"/>
            <a:ext cx="5520267" cy="2088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374651" y="1637925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 userDrawn="1"/>
        </p:nvCxnSpPr>
        <p:spPr>
          <a:xfrm>
            <a:off x="6287035" y="1637925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6"/>
          <p:cNvSpPr>
            <a:spLocks noGrp="1"/>
          </p:cNvSpPr>
          <p:nvPr>
            <p:ph type="body" sz="quarter" idx="21"/>
          </p:nvPr>
        </p:nvSpPr>
        <p:spPr>
          <a:xfrm>
            <a:off x="6287035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Объект 9"/>
          <p:cNvSpPr>
            <a:spLocks noGrp="1"/>
          </p:cNvSpPr>
          <p:nvPr>
            <p:ph sz="quarter" idx="22"/>
          </p:nvPr>
        </p:nvSpPr>
        <p:spPr>
          <a:xfrm>
            <a:off x="374651" y="4219241"/>
            <a:ext cx="5520267" cy="2088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2" name="Объект 9"/>
          <p:cNvSpPr>
            <a:spLocks noGrp="1"/>
          </p:cNvSpPr>
          <p:nvPr>
            <p:ph sz="quarter" idx="23"/>
          </p:nvPr>
        </p:nvSpPr>
        <p:spPr>
          <a:xfrm>
            <a:off x="6287035" y="4219241"/>
            <a:ext cx="5520267" cy="2088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3" name="Текст 16"/>
          <p:cNvSpPr>
            <a:spLocks noGrp="1"/>
          </p:cNvSpPr>
          <p:nvPr>
            <p:ph type="body" sz="quarter" idx="24"/>
          </p:nvPr>
        </p:nvSpPr>
        <p:spPr>
          <a:xfrm>
            <a:off x="374651" y="3779606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>
          <a:xfrm>
            <a:off x="374651" y="4201506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 userDrawn="1"/>
        </p:nvCxnSpPr>
        <p:spPr>
          <a:xfrm>
            <a:off x="6287035" y="4201506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Текст 16"/>
          <p:cNvSpPr>
            <a:spLocks noGrp="1"/>
          </p:cNvSpPr>
          <p:nvPr>
            <p:ph type="body" sz="quarter" idx="25"/>
          </p:nvPr>
        </p:nvSpPr>
        <p:spPr>
          <a:xfrm>
            <a:off x="6287035" y="3779606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16272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097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5397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704913" y="1232185"/>
            <a:ext cx="8846672" cy="6334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449" y="287779"/>
            <a:ext cx="1632903" cy="71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958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2521463" y="4358513"/>
            <a:ext cx="8034871" cy="324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  <a:defRPr sz="1800" b="1">
                <a:solidFill>
                  <a:srgbClr val="0077C8"/>
                </a:solidFill>
              </a:defRPr>
            </a:lvl1pPr>
            <a:lvl2pPr marL="625475" indent="-625475">
              <a:spcBef>
                <a:spcPts val="1800"/>
              </a:spcBef>
              <a:buFontTx/>
              <a:buBlip>
                <a:blip r:embed="rId2"/>
              </a:buBlip>
              <a:defRPr sz="2200"/>
            </a:lvl2pPr>
          </a:lstStyle>
          <a:p>
            <a:pPr lvl="0"/>
            <a:r>
              <a:rPr lang="ru-RU" dirty="0" smtClean="0"/>
              <a:t>Название филиала</a:t>
            </a:r>
          </a:p>
        </p:txBody>
      </p:sp>
      <p:sp>
        <p:nvSpPr>
          <p:cNvPr id="10" name="Рисунок 11"/>
          <p:cNvSpPr>
            <a:spLocks noGrp="1"/>
          </p:cNvSpPr>
          <p:nvPr>
            <p:ph type="pic" sz="quarter" idx="13"/>
          </p:nvPr>
        </p:nvSpPr>
        <p:spPr>
          <a:xfrm>
            <a:off x="916800" y="692150"/>
            <a:ext cx="11275200" cy="3096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2521461" y="4794041"/>
            <a:ext cx="8036472" cy="576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aseline="0"/>
            </a:lvl1pPr>
          </a:lstStyle>
          <a:p>
            <a:pPr lvl="0"/>
            <a:r>
              <a:rPr lang="ru-RU" smtClean="0"/>
              <a:t>Адрес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5" hasCustomPrompt="1"/>
          </p:nvPr>
        </p:nvSpPr>
        <p:spPr>
          <a:xfrm>
            <a:off x="3236847" y="5552157"/>
            <a:ext cx="7321087" cy="25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+7 (000) 0</a:t>
            </a:r>
            <a:r>
              <a:rPr lang="en-US" smtClean="0"/>
              <a:t>00</a:t>
            </a:r>
            <a:r>
              <a:rPr lang="ru-RU" smtClean="0"/>
              <a:t>-00-00</a:t>
            </a:r>
            <a:endParaRPr lang="ru-RU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3236847" y="5772463"/>
            <a:ext cx="7321087" cy="25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+7 (000) </a:t>
            </a:r>
            <a:r>
              <a:rPr lang="en-US" smtClean="0"/>
              <a:t>00</a:t>
            </a:r>
            <a:r>
              <a:rPr lang="ru-RU" smtClean="0"/>
              <a:t>0-00-0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8223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878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609600" y="457200"/>
            <a:ext cx="10972800" cy="5410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ln/>
        </p:spPr>
        <p:txBody>
          <a:bodyPr lIns="100584" tIns="50292" rIns="100584" bIns="50292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EAAE0C-34C4-4CF4-8C95-E443F085D2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dt" sz="half" idx="1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ln/>
        </p:spPr>
        <p:txBody>
          <a:bodyPr lIns="100584" tIns="50292" rIns="100584" bIns="50292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8418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29171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6108929" y="5589240"/>
            <a:ext cx="5532697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5537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 с заменямы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1"/>
          <p:cNvSpPr>
            <a:spLocks noGrp="1"/>
          </p:cNvSpPr>
          <p:nvPr>
            <p:ph type="pic" sz="quarter" idx="13"/>
          </p:nvPr>
        </p:nvSpPr>
        <p:spPr>
          <a:xfrm>
            <a:off x="916801" y="315913"/>
            <a:ext cx="11275199" cy="376278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8209" y="2675660"/>
            <a:ext cx="2146500" cy="714667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208883" y="4392033"/>
            <a:ext cx="8567172" cy="560968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2208883" y="5120006"/>
            <a:ext cx="3574617" cy="2159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Статус реализации проекта</a:t>
            </a:r>
            <a:endParaRPr lang="ru-RU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2208883" y="5340346"/>
            <a:ext cx="3574617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baseline="0" smtClean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дд/мм/гггг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427409" y="5980903"/>
            <a:ext cx="3576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Департамент</a:t>
            </a:r>
            <a:endParaRPr lang="ru-RU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2427409" y="6100679"/>
            <a:ext cx="3576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Город</a:t>
            </a:r>
            <a:endParaRPr lang="ru-RU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8" hasCustomPrompt="1"/>
          </p:nvPr>
        </p:nvSpPr>
        <p:spPr>
          <a:xfrm>
            <a:off x="2427411" y="6597650"/>
            <a:ext cx="144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Экз. №</a:t>
            </a:r>
          </a:p>
        </p:txBody>
      </p:sp>
      <p:cxnSp>
        <p:nvCxnSpPr>
          <p:cNvPr id="25" name="Прямая соединительная линия 24"/>
          <p:cNvCxnSpPr/>
          <p:nvPr userDrawn="1"/>
        </p:nvCxnSpPr>
        <p:spPr>
          <a:xfrm>
            <a:off x="2218457" y="5997476"/>
            <a:ext cx="0" cy="7056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13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10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27302" y="2632249"/>
            <a:ext cx="8561917" cy="576000"/>
          </a:xfrm>
        </p:spPr>
        <p:txBody>
          <a:bodyPr anchor="t"/>
          <a:lstStyle>
            <a:lvl1pPr algn="l">
              <a:lnSpc>
                <a:spcPct val="100000"/>
              </a:lnSpc>
              <a:defRPr sz="1800" b="0" cap="none" baseline="0"/>
            </a:lvl1pPr>
          </a:lstStyle>
          <a:p>
            <a:r>
              <a:rPr lang="ru-RU" dirty="0" smtClean="0"/>
              <a:t>Название раздела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в две строки</a:t>
            </a:r>
            <a:endParaRPr lang="ru-RU" dirty="0"/>
          </a:p>
        </p:txBody>
      </p:sp>
      <p:sp>
        <p:nvSpPr>
          <p:cNvPr id="25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33622" y="3740848"/>
            <a:ext cx="5962645" cy="1332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62626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писание раздела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859859" y="2632249"/>
            <a:ext cx="478367" cy="540000"/>
          </a:xfrm>
        </p:spPr>
        <p:txBody>
          <a:bodyPr anchor="b" anchorCtr="0">
            <a:noAutofit/>
          </a:bodyPr>
          <a:lstStyle>
            <a:lvl1pPr>
              <a:defRPr sz="4200" b="1">
                <a:solidFill>
                  <a:srgbClr val="0077C8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449" y="287779"/>
            <a:ext cx="1632903" cy="71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623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5"/>
            <a:ext cx="5520000" cy="509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6288617" y="1216026"/>
            <a:ext cx="5520000" cy="50926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2386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_с_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700808"/>
            <a:ext cx="5520000" cy="4608512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6287035" y="1700808"/>
            <a:ext cx="5520000" cy="4608512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83117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6287035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/>
          </p:nvPr>
        </p:nvSpPr>
        <p:spPr>
          <a:xfrm>
            <a:off x="6287035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22957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3"/>
          <p:cNvSpPr>
            <a:spLocks noGrp="1"/>
          </p:cNvSpPr>
          <p:nvPr>
            <p:ph type="pic" sz="quarter" idx="17"/>
          </p:nvPr>
        </p:nvSpPr>
        <p:spPr>
          <a:xfrm>
            <a:off x="6284654" y="1216026"/>
            <a:ext cx="5532697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6"/>
            <a:ext cx="5544000" cy="50926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6284654" y="5660724"/>
            <a:ext cx="5532697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6666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изображение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3"/>
          <p:cNvSpPr>
            <a:spLocks noGrp="1"/>
          </p:cNvSpPr>
          <p:nvPr>
            <p:ph type="pic" sz="quarter" idx="17"/>
          </p:nvPr>
        </p:nvSpPr>
        <p:spPr>
          <a:xfrm>
            <a:off x="4349729" y="1216026"/>
            <a:ext cx="7467623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8" y="1216025"/>
            <a:ext cx="3551767" cy="5094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4349728" y="5660724"/>
            <a:ext cx="7473816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9920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изображение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4"/>
            <a:ext cx="6624000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7" y="3789169"/>
            <a:ext cx="6624000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7200777" y="1216471"/>
            <a:ext cx="4608000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7200777" y="5661169"/>
            <a:ext cx="4608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505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изображение (вертик.) с_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74651" y="1700808"/>
            <a:ext cx="6624000" cy="2035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6624000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74651" y="1655681"/>
            <a:ext cx="66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9"/>
          <p:cNvSpPr>
            <a:spLocks noGrp="1"/>
          </p:cNvSpPr>
          <p:nvPr>
            <p:ph sz="quarter" idx="18"/>
          </p:nvPr>
        </p:nvSpPr>
        <p:spPr>
          <a:xfrm>
            <a:off x="374651" y="4276245"/>
            <a:ext cx="6624000" cy="2035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Текст 16"/>
          <p:cNvSpPr>
            <a:spLocks noGrp="1"/>
          </p:cNvSpPr>
          <p:nvPr>
            <p:ph type="body" sz="quarter" idx="19"/>
          </p:nvPr>
        </p:nvSpPr>
        <p:spPr>
          <a:xfrm>
            <a:off x="374651" y="3791462"/>
            <a:ext cx="6624000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374651" y="4231118"/>
            <a:ext cx="66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Рисунок 3"/>
          <p:cNvSpPr>
            <a:spLocks noGrp="1"/>
          </p:cNvSpPr>
          <p:nvPr>
            <p:ph type="pic" sz="quarter" idx="20"/>
          </p:nvPr>
        </p:nvSpPr>
        <p:spPr>
          <a:xfrm>
            <a:off x="7200777" y="1216471"/>
            <a:ext cx="4608000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7200777" y="5661169"/>
            <a:ext cx="4608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48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5"/>
            <a:ext cx="5520267" cy="509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7"/>
          </p:nvPr>
        </p:nvSpPr>
        <p:spPr>
          <a:xfrm>
            <a:off x="6274068" y="1216471"/>
            <a:ext cx="5544000" cy="2501554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4068" y="3070025"/>
            <a:ext cx="5544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4" name="Рисунок 3"/>
          <p:cNvSpPr>
            <a:spLocks noGrp="1"/>
          </p:cNvSpPr>
          <p:nvPr>
            <p:ph type="pic" sz="quarter" idx="18"/>
          </p:nvPr>
        </p:nvSpPr>
        <p:spPr>
          <a:xfrm>
            <a:off x="6274068" y="3807171"/>
            <a:ext cx="5544000" cy="2501554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4068" y="5660725"/>
            <a:ext cx="5544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6250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27302" y="2632249"/>
            <a:ext cx="8561917" cy="576000"/>
          </a:xfrm>
        </p:spPr>
        <p:txBody>
          <a:bodyPr anchor="t"/>
          <a:lstStyle>
            <a:lvl1pPr algn="l">
              <a:lnSpc>
                <a:spcPct val="100000"/>
              </a:lnSpc>
              <a:defRPr sz="1800" b="0" cap="none" baseline="0"/>
            </a:lvl1pPr>
          </a:lstStyle>
          <a:p>
            <a:r>
              <a:rPr lang="ru-RU" dirty="0" smtClean="0"/>
              <a:t>Название раздела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в две строки</a:t>
            </a:r>
            <a:endParaRPr lang="ru-RU" dirty="0"/>
          </a:p>
        </p:txBody>
      </p:sp>
      <p:sp>
        <p:nvSpPr>
          <p:cNvPr id="25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33622" y="3740848"/>
            <a:ext cx="5962645" cy="1332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62626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писание раздела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859859" y="2632249"/>
            <a:ext cx="478367" cy="540000"/>
          </a:xfrm>
        </p:spPr>
        <p:txBody>
          <a:bodyPr anchor="b" anchorCtr="0">
            <a:noAutofit/>
          </a:bodyPr>
          <a:lstStyle>
            <a:lvl1pPr>
              <a:defRPr sz="4200" b="1">
                <a:solidFill>
                  <a:srgbClr val="0077C8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449" y="287779"/>
            <a:ext cx="1632903" cy="71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492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(горизон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3"/>
          <p:cNvSpPr>
            <a:spLocks noGrp="1"/>
          </p:cNvSpPr>
          <p:nvPr>
            <p:ph type="pic" sz="quarter" idx="18"/>
          </p:nvPr>
        </p:nvSpPr>
        <p:spPr>
          <a:xfrm>
            <a:off x="4992065" y="3493906"/>
            <a:ext cx="6816001" cy="2814698"/>
          </a:xfrm>
          <a:prstGeom prst="round1Rect">
            <a:avLst>
              <a:gd name="adj" fmla="val 5816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6" y="1216024"/>
            <a:ext cx="11424000" cy="2124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7"/>
          </p:nvPr>
        </p:nvSpPr>
        <p:spPr>
          <a:xfrm>
            <a:off x="374651" y="3500604"/>
            <a:ext cx="4272000" cy="2808000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74651" y="5660604"/>
            <a:ext cx="427118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992064" y="5660604"/>
            <a:ext cx="6814971" cy="648000"/>
          </a:xfrm>
          <a:prstGeom prst="round1Rect">
            <a:avLst>
              <a:gd name="adj" fmla="val 13010"/>
            </a:avLst>
          </a:pr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Подпис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269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(горизонт.)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4000" y="1700050"/>
            <a:ext cx="11424000" cy="1639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9"/>
          </p:nvPr>
        </p:nvSpPr>
        <p:spPr>
          <a:xfrm>
            <a:off x="5001351" y="3978716"/>
            <a:ext cx="6816000" cy="2330008"/>
          </a:xfrm>
        </p:spPr>
        <p:txBody>
          <a:bodyPr/>
          <a:lstStyle/>
          <a:p>
            <a:pPr lvl="0"/>
            <a:endParaRPr lang="ru-RU" dirty="0"/>
          </a:p>
        </p:txBody>
      </p:sp>
      <p:sp>
        <p:nvSpPr>
          <p:cNvPr id="11" name="Объект 4"/>
          <p:cNvSpPr>
            <a:spLocks noGrp="1"/>
          </p:cNvSpPr>
          <p:nvPr>
            <p:ph sz="quarter" idx="20"/>
          </p:nvPr>
        </p:nvSpPr>
        <p:spPr>
          <a:xfrm>
            <a:off x="374651" y="3978716"/>
            <a:ext cx="4269885" cy="2330008"/>
          </a:xfrm>
        </p:spPr>
        <p:txBody>
          <a:bodyPr/>
          <a:lstStyle/>
          <a:p>
            <a:pPr lvl="0"/>
            <a:endParaRPr lang="ru-RU" dirty="0"/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3494691"/>
            <a:ext cx="4272000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374652" y="3934347"/>
            <a:ext cx="427159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 userDrawn="1"/>
        </p:nvCxnSpPr>
        <p:spPr>
          <a:xfrm>
            <a:off x="5001351" y="3934347"/>
            <a:ext cx="680365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Текст 16"/>
          <p:cNvSpPr>
            <a:spLocks noGrp="1"/>
          </p:cNvSpPr>
          <p:nvPr>
            <p:ph type="body" sz="quarter" idx="18"/>
          </p:nvPr>
        </p:nvSpPr>
        <p:spPr>
          <a:xfrm>
            <a:off x="5001352" y="3494691"/>
            <a:ext cx="6814417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2" name="Текст 16"/>
          <p:cNvSpPr>
            <a:spLocks noGrp="1"/>
          </p:cNvSpPr>
          <p:nvPr>
            <p:ph type="body" sz="quarter" idx="21"/>
          </p:nvPr>
        </p:nvSpPr>
        <p:spPr>
          <a:xfrm>
            <a:off x="374650" y="1216025"/>
            <a:ext cx="1143035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52644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изображение (горизон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6"/>
            <a:ext cx="5520267" cy="185293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9"/>
          <p:cNvSpPr>
            <a:spLocks noGrp="1"/>
          </p:cNvSpPr>
          <p:nvPr>
            <p:ph sz="quarter" idx="20"/>
          </p:nvPr>
        </p:nvSpPr>
        <p:spPr>
          <a:xfrm>
            <a:off x="6288618" y="1216026"/>
            <a:ext cx="5522381" cy="185293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Рисунок 3"/>
          <p:cNvSpPr>
            <a:spLocks noGrp="1"/>
          </p:cNvSpPr>
          <p:nvPr>
            <p:ph type="pic" sz="quarter" idx="17"/>
          </p:nvPr>
        </p:nvSpPr>
        <p:spPr>
          <a:xfrm>
            <a:off x="380250" y="3174746"/>
            <a:ext cx="11437101" cy="313385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323088 h 4427537"/>
              <a:gd name="connsiteX7" fmla="*/ 235290 w 4159527"/>
              <a:gd name="connsiteY7" fmla="*/ 0 h 4427537"/>
              <a:gd name="connsiteX0" fmla="*/ 111459 w 4160570"/>
              <a:gd name="connsiteY0" fmla="*/ 0 h 4427537"/>
              <a:gd name="connsiteX1" fmla="*/ 4155903 w 4160570"/>
              <a:gd name="connsiteY1" fmla="*/ 0 h 4427537"/>
              <a:gd name="connsiteX2" fmla="*/ 4155903 w 4160570"/>
              <a:gd name="connsiteY2" fmla="*/ 0 h 4427537"/>
              <a:gd name="connsiteX3" fmla="*/ 4160570 w 4160570"/>
              <a:gd name="connsiteY3" fmla="*/ 4423204 h 4427537"/>
              <a:gd name="connsiteX4" fmla="*/ 1043 w 4160570"/>
              <a:gd name="connsiteY4" fmla="*/ 4427537 h 4427537"/>
              <a:gd name="connsiteX5" fmla="*/ 1043 w 4160570"/>
              <a:gd name="connsiteY5" fmla="*/ 4427537 h 4427537"/>
              <a:gd name="connsiteX6" fmla="*/ 1043 w 4160570"/>
              <a:gd name="connsiteY6" fmla="*/ 323088 h 4427537"/>
              <a:gd name="connsiteX7" fmla="*/ 111459 w 4160570"/>
              <a:gd name="connsiteY7" fmla="*/ 0 h 4427537"/>
              <a:gd name="connsiteX0" fmla="*/ 111459 w 4160570"/>
              <a:gd name="connsiteY0" fmla="*/ 0 h 4427537"/>
              <a:gd name="connsiteX1" fmla="*/ 4155903 w 4160570"/>
              <a:gd name="connsiteY1" fmla="*/ 0 h 4427537"/>
              <a:gd name="connsiteX2" fmla="*/ 4155903 w 4160570"/>
              <a:gd name="connsiteY2" fmla="*/ 0 h 4427537"/>
              <a:gd name="connsiteX3" fmla="*/ 4160570 w 4160570"/>
              <a:gd name="connsiteY3" fmla="*/ 4423204 h 4427537"/>
              <a:gd name="connsiteX4" fmla="*/ 1043 w 4160570"/>
              <a:gd name="connsiteY4" fmla="*/ 4427537 h 4427537"/>
              <a:gd name="connsiteX5" fmla="*/ 1043 w 4160570"/>
              <a:gd name="connsiteY5" fmla="*/ 4427537 h 4427537"/>
              <a:gd name="connsiteX6" fmla="*/ 1043 w 4160570"/>
              <a:gd name="connsiteY6" fmla="*/ 385799 h 4427537"/>
              <a:gd name="connsiteX7" fmla="*/ 111459 w 4160570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0570" h="4427537">
                <a:moveTo>
                  <a:pt x="111459" y="0"/>
                </a:moveTo>
                <a:lnTo>
                  <a:pt x="4155903" y="0"/>
                </a:lnTo>
                <a:lnTo>
                  <a:pt x="4155903" y="0"/>
                </a:lnTo>
                <a:cubicBezTo>
                  <a:pt x="4157459" y="1474401"/>
                  <a:pt x="4159014" y="2948803"/>
                  <a:pt x="4160570" y="4423204"/>
                </a:cubicBezTo>
                <a:lnTo>
                  <a:pt x="1043" y="4427537"/>
                </a:lnTo>
                <a:lnTo>
                  <a:pt x="1043" y="4427537"/>
                </a:lnTo>
                <a:lnTo>
                  <a:pt x="1043" y="385799"/>
                </a:lnTo>
                <a:cubicBezTo>
                  <a:pt x="1043" y="255852"/>
                  <a:pt x="-18488" y="0"/>
                  <a:pt x="111459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78951" y="5660604"/>
            <a:ext cx="114384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3852 w 3720294"/>
              <a:gd name="connsiteY6" fmla="*/ 161268 h 648000"/>
              <a:gd name="connsiteX7" fmla="*/ 108002 w 3720294"/>
              <a:gd name="connsiteY7" fmla="*/ 0 h 648000"/>
              <a:gd name="connsiteX0" fmla="*/ 88741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3852 w 3720294"/>
              <a:gd name="connsiteY6" fmla="*/ 161268 h 648000"/>
              <a:gd name="connsiteX7" fmla="*/ 88741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88741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cubicBezTo>
                  <a:pt x="0" y="468001"/>
                  <a:pt x="3852" y="341267"/>
                  <a:pt x="3852" y="161268"/>
                </a:cubicBezTo>
                <a:cubicBezTo>
                  <a:pt x="3852" y="101620"/>
                  <a:pt x="29093" y="0"/>
                  <a:pt x="88741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690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4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7" y="3789320"/>
            <a:ext cx="5520267" cy="2520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Объект 9"/>
          <p:cNvSpPr>
            <a:spLocks noGrp="1"/>
          </p:cNvSpPr>
          <p:nvPr>
            <p:ph sz="quarter" idx="19"/>
          </p:nvPr>
        </p:nvSpPr>
        <p:spPr>
          <a:xfrm>
            <a:off x="6288617" y="1216024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9"/>
          <p:cNvSpPr>
            <a:spLocks noGrp="1"/>
          </p:cNvSpPr>
          <p:nvPr>
            <p:ph sz="quarter" idx="20"/>
          </p:nvPr>
        </p:nvSpPr>
        <p:spPr>
          <a:xfrm>
            <a:off x="6286768" y="3789320"/>
            <a:ext cx="5520267" cy="2520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1063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74651" y="1700050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9"/>
          <p:cNvSpPr>
            <a:spLocks noGrp="1"/>
          </p:cNvSpPr>
          <p:nvPr>
            <p:ph sz="quarter" idx="19"/>
          </p:nvPr>
        </p:nvSpPr>
        <p:spPr>
          <a:xfrm>
            <a:off x="6287035" y="1700050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374651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 userDrawn="1"/>
        </p:nvCxnSpPr>
        <p:spPr>
          <a:xfrm>
            <a:off x="6287035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6"/>
          <p:cNvSpPr>
            <a:spLocks noGrp="1"/>
          </p:cNvSpPr>
          <p:nvPr>
            <p:ph type="body" sz="quarter" idx="21"/>
          </p:nvPr>
        </p:nvSpPr>
        <p:spPr>
          <a:xfrm>
            <a:off x="6287035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Объект 9"/>
          <p:cNvSpPr>
            <a:spLocks noGrp="1"/>
          </p:cNvSpPr>
          <p:nvPr>
            <p:ph sz="quarter" idx="22"/>
          </p:nvPr>
        </p:nvSpPr>
        <p:spPr>
          <a:xfrm>
            <a:off x="374651" y="4272509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2" name="Объект 9"/>
          <p:cNvSpPr>
            <a:spLocks noGrp="1"/>
          </p:cNvSpPr>
          <p:nvPr>
            <p:ph sz="quarter" idx="23"/>
          </p:nvPr>
        </p:nvSpPr>
        <p:spPr>
          <a:xfrm>
            <a:off x="6287035" y="4272509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3" name="Текст 16"/>
          <p:cNvSpPr>
            <a:spLocks noGrp="1"/>
          </p:cNvSpPr>
          <p:nvPr>
            <p:ph type="body" sz="quarter" idx="24"/>
          </p:nvPr>
        </p:nvSpPr>
        <p:spPr>
          <a:xfrm>
            <a:off x="374651" y="3788484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>
          <a:xfrm>
            <a:off x="374651" y="4228140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 userDrawn="1"/>
        </p:nvCxnSpPr>
        <p:spPr>
          <a:xfrm>
            <a:off x="6287035" y="4228140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Текст 16"/>
          <p:cNvSpPr>
            <a:spLocks noGrp="1"/>
          </p:cNvSpPr>
          <p:nvPr>
            <p:ph type="body" sz="quarter" idx="25"/>
          </p:nvPr>
        </p:nvSpPr>
        <p:spPr>
          <a:xfrm>
            <a:off x="6287035" y="3788484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8404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9234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704913" y="1232185"/>
            <a:ext cx="8846672" cy="6334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449" y="287779"/>
            <a:ext cx="1632903" cy="71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974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2521463" y="4358513"/>
            <a:ext cx="8034871" cy="324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  <a:defRPr sz="1800" b="1">
                <a:solidFill>
                  <a:srgbClr val="0077C8"/>
                </a:solidFill>
              </a:defRPr>
            </a:lvl1pPr>
            <a:lvl2pPr marL="625475" indent="-625475">
              <a:spcBef>
                <a:spcPts val="1800"/>
              </a:spcBef>
              <a:buFontTx/>
              <a:buBlip>
                <a:blip r:embed="rId2"/>
              </a:buBlip>
              <a:defRPr sz="2200"/>
            </a:lvl2pPr>
          </a:lstStyle>
          <a:p>
            <a:pPr lvl="0"/>
            <a:r>
              <a:rPr lang="ru-RU" dirty="0" smtClean="0"/>
              <a:t>Название филиала</a:t>
            </a:r>
          </a:p>
        </p:txBody>
      </p:sp>
      <p:sp>
        <p:nvSpPr>
          <p:cNvPr id="10" name="Рисунок 11"/>
          <p:cNvSpPr>
            <a:spLocks noGrp="1"/>
          </p:cNvSpPr>
          <p:nvPr>
            <p:ph type="pic" sz="quarter" idx="13"/>
          </p:nvPr>
        </p:nvSpPr>
        <p:spPr>
          <a:xfrm>
            <a:off x="916800" y="692150"/>
            <a:ext cx="11275200" cy="3096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2521461" y="4794041"/>
            <a:ext cx="8036472" cy="576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aseline="0"/>
            </a:lvl1pPr>
          </a:lstStyle>
          <a:p>
            <a:pPr lvl="0"/>
            <a:r>
              <a:rPr lang="ru-RU" smtClean="0"/>
              <a:t>Адрес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5" hasCustomPrompt="1"/>
          </p:nvPr>
        </p:nvSpPr>
        <p:spPr>
          <a:xfrm>
            <a:off x="3236847" y="5552157"/>
            <a:ext cx="7321087" cy="25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+7 (000) 0</a:t>
            </a:r>
            <a:r>
              <a:rPr lang="en-US" smtClean="0"/>
              <a:t>00</a:t>
            </a:r>
            <a:r>
              <a:rPr lang="ru-RU" smtClean="0"/>
              <a:t>-00-00</a:t>
            </a:r>
            <a:endParaRPr lang="ru-RU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3236847" y="5772463"/>
            <a:ext cx="7321087" cy="25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+7 (000) </a:t>
            </a:r>
            <a:r>
              <a:rPr lang="en-US" smtClean="0"/>
              <a:t>00</a:t>
            </a:r>
            <a:r>
              <a:rPr lang="ru-RU" smtClean="0"/>
              <a:t>0-00-0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97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49336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 hasCustomPrompt="1"/>
          </p:nvPr>
        </p:nvSpPr>
        <p:spPr>
          <a:xfrm>
            <a:off x="383117" y="1216025"/>
            <a:ext cx="5520000" cy="5092700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ru-RU" dirty="0" err="1" smtClean="0"/>
              <a:t>ывегангшыангшыенгл</a:t>
            </a:r>
            <a:endParaRPr lang="ru-RU" dirty="0" smtClean="0"/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6288617" y="1216026"/>
            <a:ext cx="5520000" cy="50926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05023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_с_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700808"/>
            <a:ext cx="5520000" cy="46085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6287035" y="1700808"/>
            <a:ext cx="5520000" cy="4608512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83117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6287035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/>
          </p:nvPr>
        </p:nvSpPr>
        <p:spPr>
          <a:xfrm>
            <a:off x="6287035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30454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9"/>
          <p:cNvSpPr>
            <a:spLocks noGrp="1"/>
          </p:cNvSpPr>
          <p:nvPr>
            <p:ph sz="quarter" idx="20"/>
          </p:nvPr>
        </p:nvSpPr>
        <p:spPr>
          <a:xfrm>
            <a:off x="6284653" y="1215823"/>
            <a:ext cx="5534400" cy="5094647"/>
          </a:xfrm>
          <a:custGeom>
            <a:avLst/>
            <a:gdLst>
              <a:gd name="connsiteX0" fmla="*/ 220908 w 3456000"/>
              <a:gd name="connsiteY0" fmla="*/ 0 h 5094000"/>
              <a:gd name="connsiteX1" fmla="*/ 3235092 w 3456000"/>
              <a:gd name="connsiteY1" fmla="*/ 0 h 5094000"/>
              <a:gd name="connsiteX2" fmla="*/ 3456000 w 3456000"/>
              <a:gd name="connsiteY2" fmla="*/ 220908 h 5094000"/>
              <a:gd name="connsiteX3" fmla="*/ 3456000 w 3456000"/>
              <a:gd name="connsiteY3" fmla="*/ 5094000 h 5094000"/>
              <a:gd name="connsiteX4" fmla="*/ 3456000 w 3456000"/>
              <a:gd name="connsiteY4" fmla="*/ 5094000 h 5094000"/>
              <a:gd name="connsiteX5" fmla="*/ 0 w 3456000"/>
              <a:gd name="connsiteY5" fmla="*/ 5094000 h 5094000"/>
              <a:gd name="connsiteX6" fmla="*/ 0 w 3456000"/>
              <a:gd name="connsiteY6" fmla="*/ 5094000 h 5094000"/>
              <a:gd name="connsiteX7" fmla="*/ 0 w 3456000"/>
              <a:gd name="connsiteY7" fmla="*/ 220908 h 5094000"/>
              <a:gd name="connsiteX8" fmla="*/ 220908 w 3456000"/>
              <a:gd name="connsiteY8" fmla="*/ 0 h 5094000"/>
              <a:gd name="connsiteX0" fmla="*/ 220908 w 3536983"/>
              <a:gd name="connsiteY0" fmla="*/ 0 h 5094000"/>
              <a:gd name="connsiteX1" fmla="*/ 3235092 w 3536983"/>
              <a:gd name="connsiteY1" fmla="*/ 0 h 5094000"/>
              <a:gd name="connsiteX2" fmla="*/ 3456000 w 3536983"/>
              <a:gd name="connsiteY2" fmla="*/ 5094000 h 5094000"/>
              <a:gd name="connsiteX3" fmla="*/ 3456000 w 3536983"/>
              <a:gd name="connsiteY3" fmla="*/ 5094000 h 5094000"/>
              <a:gd name="connsiteX4" fmla="*/ 0 w 3536983"/>
              <a:gd name="connsiteY4" fmla="*/ 5094000 h 5094000"/>
              <a:gd name="connsiteX5" fmla="*/ 0 w 3536983"/>
              <a:gd name="connsiteY5" fmla="*/ 5094000 h 5094000"/>
              <a:gd name="connsiteX6" fmla="*/ 0 w 3536983"/>
              <a:gd name="connsiteY6" fmla="*/ 220908 h 5094000"/>
              <a:gd name="connsiteX7" fmla="*/ 220908 w 3536983"/>
              <a:gd name="connsiteY7" fmla="*/ 0 h 5094000"/>
              <a:gd name="connsiteX0" fmla="*/ 220908 w 3456000"/>
              <a:gd name="connsiteY0" fmla="*/ 0 h 5094000"/>
              <a:gd name="connsiteX1" fmla="*/ 3235092 w 3456000"/>
              <a:gd name="connsiteY1" fmla="*/ 0 h 5094000"/>
              <a:gd name="connsiteX2" fmla="*/ 3456000 w 3456000"/>
              <a:gd name="connsiteY2" fmla="*/ 5094000 h 5094000"/>
              <a:gd name="connsiteX3" fmla="*/ 3456000 w 3456000"/>
              <a:gd name="connsiteY3" fmla="*/ 5094000 h 5094000"/>
              <a:gd name="connsiteX4" fmla="*/ 0 w 3456000"/>
              <a:gd name="connsiteY4" fmla="*/ 5094000 h 5094000"/>
              <a:gd name="connsiteX5" fmla="*/ 0 w 3456000"/>
              <a:gd name="connsiteY5" fmla="*/ 5094000 h 5094000"/>
              <a:gd name="connsiteX6" fmla="*/ 0 w 3456000"/>
              <a:gd name="connsiteY6" fmla="*/ 220908 h 5094000"/>
              <a:gd name="connsiteX7" fmla="*/ 220908 w 3456000"/>
              <a:gd name="connsiteY7" fmla="*/ 0 h 5094000"/>
              <a:gd name="connsiteX0" fmla="*/ 220908 w 3466123"/>
              <a:gd name="connsiteY0" fmla="*/ 0 h 5094000"/>
              <a:gd name="connsiteX1" fmla="*/ 3457034 w 3466123"/>
              <a:gd name="connsiteY1" fmla="*/ 0 h 5094000"/>
              <a:gd name="connsiteX2" fmla="*/ 3456000 w 3466123"/>
              <a:gd name="connsiteY2" fmla="*/ 5094000 h 5094000"/>
              <a:gd name="connsiteX3" fmla="*/ 3456000 w 3466123"/>
              <a:gd name="connsiteY3" fmla="*/ 5094000 h 5094000"/>
              <a:gd name="connsiteX4" fmla="*/ 0 w 3466123"/>
              <a:gd name="connsiteY4" fmla="*/ 5094000 h 5094000"/>
              <a:gd name="connsiteX5" fmla="*/ 0 w 3466123"/>
              <a:gd name="connsiteY5" fmla="*/ 5094000 h 5094000"/>
              <a:gd name="connsiteX6" fmla="*/ 0 w 3466123"/>
              <a:gd name="connsiteY6" fmla="*/ 220908 h 5094000"/>
              <a:gd name="connsiteX7" fmla="*/ 220908 w 3466123"/>
              <a:gd name="connsiteY7" fmla="*/ 0 h 5094000"/>
              <a:gd name="connsiteX0" fmla="*/ 220908 w 3457700"/>
              <a:gd name="connsiteY0" fmla="*/ 0 h 5094000"/>
              <a:gd name="connsiteX1" fmla="*/ 3457034 w 3457700"/>
              <a:gd name="connsiteY1" fmla="*/ 0 h 5094000"/>
              <a:gd name="connsiteX2" fmla="*/ 3456000 w 3457700"/>
              <a:gd name="connsiteY2" fmla="*/ 5094000 h 5094000"/>
              <a:gd name="connsiteX3" fmla="*/ 3456000 w 3457700"/>
              <a:gd name="connsiteY3" fmla="*/ 5094000 h 5094000"/>
              <a:gd name="connsiteX4" fmla="*/ 0 w 3457700"/>
              <a:gd name="connsiteY4" fmla="*/ 5094000 h 5094000"/>
              <a:gd name="connsiteX5" fmla="*/ 0 w 3457700"/>
              <a:gd name="connsiteY5" fmla="*/ 5094000 h 5094000"/>
              <a:gd name="connsiteX6" fmla="*/ 0 w 3457700"/>
              <a:gd name="connsiteY6" fmla="*/ 220908 h 5094000"/>
              <a:gd name="connsiteX7" fmla="*/ 220908 w 3457700"/>
              <a:gd name="connsiteY7" fmla="*/ 0 h 5094000"/>
              <a:gd name="connsiteX0" fmla="*/ 220908 w 3466471"/>
              <a:gd name="connsiteY0" fmla="*/ 0 h 5094000"/>
              <a:gd name="connsiteX1" fmla="*/ 3465911 w 3466471"/>
              <a:gd name="connsiteY1" fmla="*/ 8878 h 5094000"/>
              <a:gd name="connsiteX2" fmla="*/ 3456000 w 3466471"/>
              <a:gd name="connsiteY2" fmla="*/ 5094000 h 5094000"/>
              <a:gd name="connsiteX3" fmla="*/ 3456000 w 3466471"/>
              <a:gd name="connsiteY3" fmla="*/ 5094000 h 5094000"/>
              <a:gd name="connsiteX4" fmla="*/ 0 w 3466471"/>
              <a:gd name="connsiteY4" fmla="*/ 5094000 h 5094000"/>
              <a:gd name="connsiteX5" fmla="*/ 0 w 3466471"/>
              <a:gd name="connsiteY5" fmla="*/ 5094000 h 5094000"/>
              <a:gd name="connsiteX6" fmla="*/ 0 w 3466471"/>
              <a:gd name="connsiteY6" fmla="*/ 220908 h 5094000"/>
              <a:gd name="connsiteX7" fmla="*/ 220908 w 3466471"/>
              <a:gd name="connsiteY7" fmla="*/ 0 h 5094000"/>
              <a:gd name="connsiteX0" fmla="*/ 220908 w 3456000"/>
              <a:gd name="connsiteY0" fmla="*/ 0 h 5094000"/>
              <a:gd name="connsiteX1" fmla="*/ 3442099 w 3456000"/>
              <a:gd name="connsiteY1" fmla="*/ 23165 h 5094000"/>
              <a:gd name="connsiteX2" fmla="*/ 3456000 w 3456000"/>
              <a:gd name="connsiteY2" fmla="*/ 5094000 h 5094000"/>
              <a:gd name="connsiteX3" fmla="*/ 3456000 w 3456000"/>
              <a:gd name="connsiteY3" fmla="*/ 5094000 h 5094000"/>
              <a:gd name="connsiteX4" fmla="*/ 0 w 3456000"/>
              <a:gd name="connsiteY4" fmla="*/ 5094000 h 5094000"/>
              <a:gd name="connsiteX5" fmla="*/ 0 w 3456000"/>
              <a:gd name="connsiteY5" fmla="*/ 5094000 h 5094000"/>
              <a:gd name="connsiteX6" fmla="*/ 0 w 3456000"/>
              <a:gd name="connsiteY6" fmla="*/ 220908 h 5094000"/>
              <a:gd name="connsiteX7" fmla="*/ 220908 w 3456000"/>
              <a:gd name="connsiteY7" fmla="*/ 0 h 5094000"/>
              <a:gd name="connsiteX0" fmla="*/ 220908 w 3456000"/>
              <a:gd name="connsiteY0" fmla="*/ 647 h 5094647"/>
              <a:gd name="connsiteX1" fmla="*/ 3451624 w 3456000"/>
              <a:gd name="connsiteY1" fmla="*/ 0 h 5094647"/>
              <a:gd name="connsiteX2" fmla="*/ 3456000 w 3456000"/>
              <a:gd name="connsiteY2" fmla="*/ 5094647 h 5094647"/>
              <a:gd name="connsiteX3" fmla="*/ 3456000 w 3456000"/>
              <a:gd name="connsiteY3" fmla="*/ 5094647 h 5094647"/>
              <a:gd name="connsiteX4" fmla="*/ 0 w 3456000"/>
              <a:gd name="connsiteY4" fmla="*/ 5094647 h 5094647"/>
              <a:gd name="connsiteX5" fmla="*/ 0 w 3456000"/>
              <a:gd name="connsiteY5" fmla="*/ 5094647 h 5094647"/>
              <a:gd name="connsiteX6" fmla="*/ 0 w 3456000"/>
              <a:gd name="connsiteY6" fmla="*/ 221555 h 5094647"/>
              <a:gd name="connsiteX7" fmla="*/ 220908 w 3456000"/>
              <a:gd name="connsiteY7" fmla="*/ 647 h 5094647"/>
              <a:gd name="connsiteX0" fmla="*/ 220908 w 3466471"/>
              <a:gd name="connsiteY0" fmla="*/ 647 h 5094647"/>
              <a:gd name="connsiteX1" fmla="*/ 3465911 w 3466471"/>
              <a:gd name="connsiteY1" fmla="*/ 0 h 5094647"/>
              <a:gd name="connsiteX2" fmla="*/ 3456000 w 3466471"/>
              <a:gd name="connsiteY2" fmla="*/ 5094647 h 5094647"/>
              <a:gd name="connsiteX3" fmla="*/ 3456000 w 3466471"/>
              <a:gd name="connsiteY3" fmla="*/ 5094647 h 5094647"/>
              <a:gd name="connsiteX4" fmla="*/ 0 w 3466471"/>
              <a:gd name="connsiteY4" fmla="*/ 5094647 h 5094647"/>
              <a:gd name="connsiteX5" fmla="*/ 0 w 3466471"/>
              <a:gd name="connsiteY5" fmla="*/ 5094647 h 5094647"/>
              <a:gd name="connsiteX6" fmla="*/ 0 w 3466471"/>
              <a:gd name="connsiteY6" fmla="*/ 221555 h 5094647"/>
              <a:gd name="connsiteX7" fmla="*/ 220908 w 3466471"/>
              <a:gd name="connsiteY7" fmla="*/ 647 h 5094647"/>
              <a:gd name="connsiteX0" fmla="*/ 220908 w 3466471"/>
              <a:gd name="connsiteY0" fmla="*/ 647 h 5094647"/>
              <a:gd name="connsiteX1" fmla="*/ 3465911 w 3466471"/>
              <a:gd name="connsiteY1" fmla="*/ 0 h 5094647"/>
              <a:gd name="connsiteX2" fmla="*/ 3456000 w 3466471"/>
              <a:gd name="connsiteY2" fmla="*/ 5094647 h 5094647"/>
              <a:gd name="connsiteX3" fmla="*/ 3456000 w 3466471"/>
              <a:gd name="connsiteY3" fmla="*/ 5094647 h 5094647"/>
              <a:gd name="connsiteX4" fmla="*/ 0 w 3466471"/>
              <a:gd name="connsiteY4" fmla="*/ 5094647 h 5094647"/>
              <a:gd name="connsiteX5" fmla="*/ 0 w 3466471"/>
              <a:gd name="connsiteY5" fmla="*/ 5094647 h 5094647"/>
              <a:gd name="connsiteX6" fmla="*/ 0 w 3466471"/>
              <a:gd name="connsiteY6" fmla="*/ 221555 h 5094647"/>
              <a:gd name="connsiteX7" fmla="*/ 220908 w 3466471"/>
              <a:gd name="connsiteY7" fmla="*/ 647 h 5094647"/>
              <a:gd name="connsiteX0" fmla="*/ 220908 w 3468187"/>
              <a:gd name="connsiteY0" fmla="*/ 647 h 5094647"/>
              <a:gd name="connsiteX1" fmla="*/ 3465911 w 3468187"/>
              <a:gd name="connsiteY1" fmla="*/ 0 h 5094647"/>
              <a:gd name="connsiteX2" fmla="*/ 3456000 w 3468187"/>
              <a:gd name="connsiteY2" fmla="*/ 5094647 h 5094647"/>
              <a:gd name="connsiteX3" fmla="*/ 3456000 w 3468187"/>
              <a:gd name="connsiteY3" fmla="*/ 5094647 h 5094647"/>
              <a:gd name="connsiteX4" fmla="*/ 0 w 3468187"/>
              <a:gd name="connsiteY4" fmla="*/ 5094647 h 5094647"/>
              <a:gd name="connsiteX5" fmla="*/ 0 w 3468187"/>
              <a:gd name="connsiteY5" fmla="*/ 5094647 h 5094647"/>
              <a:gd name="connsiteX6" fmla="*/ 0 w 3468187"/>
              <a:gd name="connsiteY6" fmla="*/ 221555 h 5094647"/>
              <a:gd name="connsiteX7" fmla="*/ 220908 w 3468187"/>
              <a:gd name="connsiteY7" fmla="*/ 647 h 5094647"/>
              <a:gd name="connsiteX0" fmla="*/ 220908 w 3467534"/>
              <a:gd name="connsiteY0" fmla="*/ 647 h 5094647"/>
              <a:gd name="connsiteX1" fmla="*/ 3465911 w 3467534"/>
              <a:gd name="connsiteY1" fmla="*/ 0 h 5094647"/>
              <a:gd name="connsiteX2" fmla="*/ 3456000 w 3467534"/>
              <a:gd name="connsiteY2" fmla="*/ 5094647 h 5094647"/>
              <a:gd name="connsiteX3" fmla="*/ 3456000 w 3467534"/>
              <a:gd name="connsiteY3" fmla="*/ 5094647 h 5094647"/>
              <a:gd name="connsiteX4" fmla="*/ 0 w 3467534"/>
              <a:gd name="connsiteY4" fmla="*/ 5094647 h 5094647"/>
              <a:gd name="connsiteX5" fmla="*/ 0 w 3467534"/>
              <a:gd name="connsiteY5" fmla="*/ 5094647 h 5094647"/>
              <a:gd name="connsiteX6" fmla="*/ 0 w 3467534"/>
              <a:gd name="connsiteY6" fmla="*/ 221555 h 5094647"/>
              <a:gd name="connsiteX7" fmla="*/ 220908 w 3467534"/>
              <a:gd name="connsiteY7" fmla="*/ 647 h 5094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67534" h="5094647">
                <a:moveTo>
                  <a:pt x="220908" y="647"/>
                </a:moveTo>
                <a:lnTo>
                  <a:pt x="3465911" y="0"/>
                </a:lnTo>
                <a:cubicBezTo>
                  <a:pt x="3472433" y="955533"/>
                  <a:pt x="3457282" y="4251997"/>
                  <a:pt x="3456000" y="5094647"/>
                </a:cubicBezTo>
                <a:lnTo>
                  <a:pt x="3456000" y="5094647"/>
                </a:lnTo>
                <a:lnTo>
                  <a:pt x="0" y="5094647"/>
                </a:lnTo>
                <a:lnTo>
                  <a:pt x="0" y="5094647"/>
                </a:lnTo>
                <a:lnTo>
                  <a:pt x="0" y="221555"/>
                </a:lnTo>
                <a:cubicBezTo>
                  <a:pt x="0" y="99551"/>
                  <a:pt x="98904" y="647"/>
                  <a:pt x="220908" y="647"/>
                </a:cubicBezTo>
                <a:close/>
              </a:path>
            </a:pathLst>
          </a:cu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6"/>
            <a:ext cx="5544000" cy="50926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9569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изображение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Объект 9"/>
          <p:cNvSpPr>
            <a:spLocks noGrp="1"/>
          </p:cNvSpPr>
          <p:nvPr>
            <p:ph sz="quarter" idx="21"/>
          </p:nvPr>
        </p:nvSpPr>
        <p:spPr>
          <a:xfrm>
            <a:off x="4354744" y="1216488"/>
            <a:ext cx="7468800" cy="5094000"/>
          </a:xfrm>
          <a:custGeom>
            <a:avLst/>
            <a:gdLst>
              <a:gd name="connsiteX0" fmla="*/ 178443 w 5601600"/>
              <a:gd name="connsiteY0" fmla="*/ 0 h 5094000"/>
              <a:gd name="connsiteX1" fmla="*/ 5423157 w 5601600"/>
              <a:gd name="connsiteY1" fmla="*/ 0 h 5094000"/>
              <a:gd name="connsiteX2" fmla="*/ 5601600 w 5601600"/>
              <a:gd name="connsiteY2" fmla="*/ 178443 h 5094000"/>
              <a:gd name="connsiteX3" fmla="*/ 5601600 w 5601600"/>
              <a:gd name="connsiteY3" fmla="*/ 5094000 h 5094000"/>
              <a:gd name="connsiteX4" fmla="*/ 5601600 w 5601600"/>
              <a:gd name="connsiteY4" fmla="*/ 5094000 h 5094000"/>
              <a:gd name="connsiteX5" fmla="*/ 0 w 5601600"/>
              <a:gd name="connsiteY5" fmla="*/ 5094000 h 5094000"/>
              <a:gd name="connsiteX6" fmla="*/ 0 w 5601600"/>
              <a:gd name="connsiteY6" fmla="*/ 5094000 h 5094000"/>
              <a:gd name="connsiteX7" fmla="*/ 0 w 5601600"/>
              <a:gd name="connsiteY7" fmla="*/ 178443 h 5094000"/>
              <a:gd name="connsiteX8" fmla="*/ 178443 w 5601600"/>
              <a:gd name="connsiteY8" fmla="*/ 0 h 5094000"/>
              <a:gd name="connsiteX0" fmla="*/ 178443 w 5601600"/>
              <a:gd name="connsiteY0" fmla="*/ 0 h 5094000"/>
              <a:gd name="connsiteX1" fmla="*/ 5601600 w 5601600"/>
              <a:gd name="connsiteY1" fmla="*/ 178443 h 5094000"/>
              <a:gd name="connsiteX2" fmla="*/ 5601600 w 5601600"/>
              <a:gd name="connsiteY2" fmla="*/ 5094000 h 5094000"/>
              <a:gd name="connsiteX3" fmla="*/ 5601600 w 5601600"/>
              <a:gd name="connsiteY3" fmla="*/ 5094000 h 5094000"/>
              <a:gd name="connsiteX4" fmla="*/ 0 w 5601600"/>
              <a:gd name="connsiteY4" fmla="*/ 5094000 h 5094000"/>
              <a:gd name="connsiteX5" fmla="*/ 0 w 5601600"/>
              <a:gd name="connsiteY5" fmla="*/ 5094000 h 5094000"/>
              <a:gd name="connsiteX6" fmla="*/ 0 w 5601600"/>
              <a:gd name="connsiteY6" fmla="*/ 178443 h 5094000"/>
              <a:gd name="connsiteX7" fmla="*/ 178443 w 5601600"/>
              <a:gd name="connsiteY7" fmla="*/ 0 h 5094000"/>
              <a:gd name="connsiteX0" fmla="*/ 178443 w 5601600"/>
              <a:gd name="connsiteY0" fmla="*/ 0 h 5094000"/>
              <a:gd name="connsiteX1" fmla="*/ 5601600 w 5601600"/>
              <a:gd name="connsiteY1" fmla="*/ 3183 h 5094000"/>
              <a:gd name="connsiteX2" fmla="*/ 5601600 w 5601600"/>
              <a:gd name="connsiteY2" fmla="*/ 5094000 h 5094000"/>
              <a:gd name="connsiteX3" fmla="*/ 5601600 w 5601600"/>
              <a:gd name="connsiteY3" fmla="*/ 5094000 h 5094000"/>
              <a:gd name="connsiteX4" fmla="*/ 0 w 5601600"/>
              <a:gd name="connsiteY4" fmla="*/ 5094000 h 5094000"/>
              <a:gd name="connsiteX5" fmla="*/ 0 w 5601600"/>
              <a:gd name="connsiteY5" fmla="*/ 5094000 h 5094000"/>
              <a:gd name="connsiteX6" fmla="*/ 0 w 5601600"/>
              <a:gd name="connsiteY6" fmla="*/ 178443 h 5094000"/>
              <a:gd name="connsiteX7" fmla="*/ 178443 w 5601600"/>
              <a:gd name="connsiteY7" fmla="*/ 0 h 509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01600" h="5094000">
                <a:moveTo>
                  <a:pt x="178443" y="0"/>
                </a:moveTo>
                <a:lnTo>
                  <a:pt x="5601600" y="3183"/>
                </a:lnTo>
                <a:lnTo>
                  <a:pt x="5601600" y="5094000"/>
                </a:lnTo>
                <a:lnTo>
                  <a:pt x="5601600" y="5094000"/>
                </a:lnTo>
                <a:lnTo>
                  <a:pt x="0" y="5094000"/>
                </a:lnTo>
                <a:lnTo>
                  <a:pt x="0" y="5094000"/>
                </a:lnTo>
                <a:lnTo>
                  <a:pt x="0" y="178443"/>
                </a:lnTo>
                <a:cubicBezTo>
                  <a:pt x="0" y="79892"/>
                  <a:pt x="79892" y="0"/>
                  <a:pt x="178443" y="0"/>
                </a:cubicBezTo>
                <a:close/>
              </a:path>
            </a:pathLst>
          </a:cu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8" y="1216488"/>
            <a:ext cx="3551767" cy="50826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4349728" y="5662488"/>
            <a:ext cx="7473816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971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изображение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Объект 9"/>
          <p:cNvSpPr>
            <a:spLocks noGrp="1"/>
          </p:cNvSpPr>
          <p:nvPr>
            <p:ph sz="quarter" idx="19"/>
          </p:nvPr>
        </p:nvSpPr>
        <p:spPr>
          <a:xfrm>
            <a:off x="7200777" y="1215823"/>
            <a:ext cx="4623379" cy="5094647"/>
          </a:xfrm>
          <a:custGeom>
            <a:avLst/>
            <a:gdLst>
              <a:gd name="connsiteX0" fmla="*/ 220908 w 3456000"/>
              <a:gd name="connsiteY0" fmla="*/ 0 h 5094000"/>
              <a:gd name="connsiteX1" fmla="*/ 3235092 w 3456000"/>
              <a:gd name="connsiteY1" fmla="*/ 0 h 5094000"/>
              <a:gd name="connsiteX2" fmla="*/ 3456000 w 3456000"/>
              <a:gd name="connsiteY2" fmla="*/ 220908 h 5094000"/>
              <a:gd name="connsiteX3" fmla="*/ 3456000 w 3456000"/>
              <a:gd name="connsiteY3" fmla="*/ 5094000 h 5094000"/>
              <a:gd name="connsiteX4" fmla="*/ 3456000 w 3456000"/>
              <a:gd name="connsiteY4" fmla="*/ 5094000 h 5094000"/>
              <a:gd name="connsiteX5" fmla="*/ 0 w 3456000"/>
              <a:gd name="connsiteY5" fmla="*/ 5094000 h 5094000"/>
              <a:gd name="connsiteX6" fmla="*/ 0 w 3456000"/>
              <a:gd name="connsiteY6" fmla="*/ 5094000 h 5094000"/>
              <a:gd name="connsiteX7" fmla="*/ 0 w 3456000"/>
              <a:gd name="connsiteY7" fmla="*/ 220908 h 5094000"/>
              <a:gd name="connsiteX8" fmla="*/ 220908 w 3456000"/>
              <a:gd name="connsiteY8" fmla="*/ 0 h 5094000"/>
              <a:gd name="connsiteX0" fmla="*/ 220908 w 3536983"/>
              <a:gd name="connsiteY0" fmla="*/ 0 h 5094000"/>
              <a:gd name="connsiteX1" fmla="*/ 3235092 w 3536983"/>
              <a:gd name="connsiteY1" fmla="*/ 0 h 5094000"/>
              <a:gd name="connsiteX2" fmla="*/ 3456000 w 3536983"/>
              <a:gd name="connsiteY2" fmla="*/ 5094000 h 5094000"/>
              <a:gd name="connsiteX3" fmla="*/ 3456000 w 3536983"/>
              <a:gd name="connsiteY3" fmla="*/ 5094000 h 5094000"/>
              <a:gd name="connsiteX4" fmla="*/ 0 w 3536983"/>
              <a:gd name="connsiteY4" fmla="*/ 5094000 h 5094000"/>
              <a:gd name="connsiteX5" fmla="*/ 0 w 3536983"/>
              <a:gd name="connsiteY5" fmla="*/ 5094000 h 5094000"/>
              <a:gd name="connsiteX6" fmla="*/ 0 w 3536983"/>
              <a:gd name="connsiteY6" fmla="*/ 220908 h 5094000"/>
              <a:gd name="connsiteX7" fmla="*/ 220908 w 3536983"/>
              <a:gd name="connsiteY7" fmla="*/ 0 h 5094000"/>
              <a:gd name="connsiteX0" fmla="*/ 220908 w 3456000"/>
              <a:gd name="connsiteY0" fmla="*/ 0 h 5094000"/>
              <a:gd name="connsiteX1" fmla="*/ 3235092 w 3456000"/>
              <a:gd name="connsiteY1" fmla="*/ 0 h 5094000"/>
              <a:gd name="connsiteX2" fmla="*/ 3456000 w 3456000"/>
              <a:gd name="connsiteY2" fmla="*/ 5094000 h 5094000"/>
              <a:gd name="connsiteX3" fmla="*/ 3456000 w 3456000"/>
              <a:gd name="connsiteY3" fmla="*/ 5094000 h 5094000"/>
              <a:gd name="connsiteX4" fmla="*/ 0 w 3456000"/>
              <a:gd name="connsiteY4" fmla="*/ 5094000 h 5094000"/>
              <a:gd name="connsiteX5" fmla="*/ 0 w 3456000"/>
              <a:gd name="connsiteY5" fmla="*/ 5094000 h 5094000"/>
              <a:gd name="connsiteX6" fmla="*/ 0 w 3456000"/>
              <a:gd name="connsiteY6" fmla="*/ 220908 h 5094000"/>
              <a:gd name="connsiteX7" fmla="*/ 220908 w 3456000"/>
              <a:gd name="connsiteY7" fmla="*/ 0 h 5094000"/>
              <a:gd name="connsiteX0" fmla="*/ 220908 w 3466123"/>
              <a:gd name="connsiteY0" fmla="*/ 0 h 5094000"/>
              <a:gd name="connsiteX1" fmla="*/ 3457034 w 3466123"/>
              <a:gd name="connsiteY1" fmla="*/ 0 h 5094000"/>
              <a:gd name="connsiteX2" fmla="*/ 3456000 w 3466123"/>
              <a:gd name="connsiteY2" fmla="*/ 5094000 h 5094000"/>
              <a:gd name="connsiteX3" fmla="*/ 3456000 w 3466123"/>
              <a:gd name="connsiteY3" fmla="*/ 5094000 h 5094000"/>
              <a:gd name="connsiteX4" fmla="*/ 0 w 3466123"/>
              <a:gd name="connsiteY4" fmla="*/ 5094000 h 5094000"/>
              <a:gd name="connsiteX5" fmla="*/ 0 w 3466123"/>
              <a:gd name="connsiteY5" fmla="*/ 5094000 h 5094000"/>
              <a:gd name="connsiteX6" fmla="*/ 0 w 3466123"/>
              <a:gd name="connsiteY6" fmla="*/ 220908 h 5094000"/>
              <a:gd name="connsiteX7" fmla="*/ 220908 w 3466123"/>
              <a:gd name="connsiteY7" fmla="*/ 0 h 5094000"/>
              <a:gd name="connsiteX0" fmla="*/ 220908 w 3457700"/>
              <a:gd name="connsiteY0" fmla="*/ 0 h 5094000"/>
              <a:gd name="connsiteX1" fmla="*/ 3457034 w 3457700"/>
              <a:gd name="connsiteY1" fmla="*/ 0 h 5094000"/>
              <a:gd name="connsiteX2" fmla="*/ 3456000 w 3457700"/>
              <a:gd name="connsiteY2" fmla="*/ 5094000 h 5094000"/>
              <a:gd name="connsiteX3" fmla="*/ 3456000 w 3457700"/>
              <a:gd name="connsiteY3" fmla="*/ 5094000 h 5094000"/>
              <a:gd name="connsiteX4" fmla="*/ 0 w 3457700"/>
              <a:gd name="connsiteY4" fmla="*/ 5094000 h 5094000"/>
              <a:gd name="connsiteX5" fmla="*/ 0 w 3457700"/>
              <a:gd name="connsiteY5" fmla="*/ 5094000 h 5094000"/>
              <a:gd name="connsiteX6" fmla="*/ 0 w 3457700"/>
              <a:gd name="connsiteY6" fmla="*/ 220908 h 5094000"/>
              <a:gd name="connsiteX7" fmla="*/ 220908 w 3457700"/>
              <a:gd name="connsiteY7" fmla="*/ 0 h 5094000"/>
              <a:gd name="connsiteX0" fmla="*/ 220908 w 3466471"/>
              <a:gd name="connsiteY0" fmla="*/ 0 h 5094000"/>
              <a:gd name="connsiteX1" fmla="*/ 3465911 w 3466471"/>
              <a:gd name="connsiteY1" fmla="*/ 8878 h 5094000"/>
              <a:gd name="connsiteX2" fmla="*/ 3456000 w 3466471"/>
              <a:gd name="connsiteY2" fmla="*/ 5094000 h 5094000"/>
              <a:gd name="connsiteX3" fmla="*/ 3456000 w 3466471"/>
              <a:gd name="connsiteY3" fmla="*/ 5094000 h 5094000"/>
              <a:gd name="connsiteX4" fmla="*/ 0 w 3466471"/>
              <a:gd name="connsiteY4" fmla="*/ 5094000 h 5094000"/>
              <a:gd name="connsiteX5" fmla="*/ 0 w 3466471"/>
              <a:gd name="connsiteY5" fmla="*/ 5094000 h 5094000"/>
              <a:gd name="connsiteX6" fmla="*/ 0 w 3466471"/>
              <a:gd name="connsiteY6" fmla="*/ 220908 h 5094000"/>
              <a:gd name="connsiteX7" fmla="*/ 220908 w 3466471"/>
              <a:gd name="connsiteY7" fmla="*/ 0 h 5094000"/>
              <a:gd name="connsiteX0" fmla="*/ 220908 w 3456000"/>
              <a:gd name="connsiteY0" fmla="*/ 0 h 5094000"/>
              <a:gd name="connsiteX1" fmla="*/ 3442099 w 3456000"/>
              <a:gd name="connsiteY1" fmla="*/ 23165 h 5094000"/>
              <a:gd name="connsiteX2" fmla="*/ 3456000 w 3456000"/>
              <a:gd name="connsiteY2" fmla="*/ 5094000 h 5094000"/>
              <a:gd name="connsiteX3" fmla="*/ 3456000 w 3456000"/>
              <a:gd name="connsiteY3" fmla="*/ 5094000 h 5094000"/>
              <a:gd name="connsiteX4" fmla="*/ 0 w 3456000"/>
              <a:gd name="connsiteY4" fmla="*/ 5094000 h 5094000"/>
              <a:gd name="connsiteX5" fmla="*/ 0 w 3456000"/>
              <a:gd name="connsiteY5" fmla="*/ 5094000 h 5094000"/>
              <a:gd name="connsiteX6" fmla="*/ 0 w 3456000"/>
              <a:gd name="connsiteY6" fmla="*/ 220908 h 5094000"/>
              <a:gd name="connsiteX7" fmla="*/ 220908 w 3456000"/>
              <a:gd name="connsiteY7" fmla="*/ 0 h 5094000"/>
              <a:gd name="connsiteX0" fmla="*/ 220908 w 3456000"/>
              <a:gd name="connsiteY0" fmla="*/ 647 h 5094647"/>
              <a:gd name="connsiteX1" fmla="*/ 3451624 w 3456000"/>
              <a:gd name="connsiteY1" fmla="*/ 0 h 5094647"/>
              <a:gd name="connsiteX2" fmla="*/ 3456000 w 3456000"/>
              <a:gd name="connsiteY2" fmla="*/ 5094647 h 5094647"/>
              <a:gd name="connsiteX3" fmla="*/ 3456000 w 3456000"/>
              <a:gd name="connsiteY3" fmla="*/ 5094647 h 5094647"/>
              <a:gd name="connsiteX4" fmla="*/ 0 w 3456000"/>
              <a:gd name="connsiteY4" fmla="*/ 5094647 h 5094647"/>
              <a:gd name="connsiteX5" fmla="*/ 0 w 3456000"/>
              <a:gd name="connsiteY5" fmla="*/ 5094647 h 5094647"/>
              <a:gd name="connsiteX6" fmla="*/ 0 w 3456000"/>
              <a:gd name="connsiteY6" fmla="*/ 221555 h 5094647"/>
              <a:gd name="connsiteX7" fmla="*/ 220908 w 3456000"/>
              <a:gd name="connsiteY7" fmla="*/ 647 h 5094647"/>
              <a:gd name="connsiteX0" fmla="*/ 220908 w 3466471"/>
              <a:gd name="connsiteY0" fmla="*/ 647 h 5094647"/>
              <a:gd name="connsiteX1" fmla="*/ 3465911 w 3466471"/>
              <a:gd name="connsiteY1" fmla="*/ 0 h 5094647"/>
              <a:gd name="connsiteX2" fmla="*/ 3456000 w 3466471"/>
              <a:gd name="connsiteY2" fmla="*/ 5094647 h 5094647"/>
              <a:gd name="connsiteX3" fmla="*/ 3456000 w 3466471"/>
              <a:gd name="connsiteY3" fmla="*/ 5094647 h 5094647"/>
              <a:gd name="connsiteX4" fmla="*/ 0 w 3466471"/>
              <a:gd name="connsiteY4" fmla="*/ 5094647 h 5094647"/>
              <a:gd name="connsiteX5" fmla="*/ 0 w 3466471"/>
              <a:gd name="connsiteY5" fmla="*/ 5094647 h 5094647"/>
              <a:gd name="connsiteX6" fmla="*/ 0 w 3466471"/>
              <a:gd name="connsiteY6" fmla="*/ 221555 h 5094647"/>
              <a:gd name="connsiteX7" fmla="*/ 220908 w 3466471"/>
              <a:gd name="connsiteY7" fmla="*/ 647 h 5094647"/>
              <a:gd name="connsiteX0" fmla="*/ 220908 w 3466471"/>
              <a:gd name="connsiteY0" fmla="*/ 647 h 5094647"/>
              <a:gd name="connsiteX1" fmla="*/ 3465911 w 3466471"/>
              <a:gd name="connsiteY1" fmla="*/ 0 h 5094647"/>
              <a:gd name="connsiteX2" fmla="*/ 3456000 w 3466471"/>
              <a:gd name="connsiteY2" fmla="*/ 5094647 h 5094647"/>
              <a:gd name="connsiteX3" fmla="*/ 3456000 w 3466471"/>
              <a:gd name="connsiteY3" fmla="*/ 5094647 h 5094647"/>
              <a:gd name="connsiteX4" fmla="*/ 0 w 3466471"/>
              <a:gd name="connsiteY4" fmla="*/ 5094647 h 5094647"/>
              <a:gd name="connsiteX5" fmla="*/ 0 w 3466471"/>
              <a:gd name="connsiteY5" fmla="*/ 5094647 h 5094647"/>
              <a:gd name="connsiteX6" fmla="*/ 0 w 3466471"/>
              <a:gd name="connsiteY6" fmla="*/ 221555 h 5094647"/>
              <a:gd name="connsiteX7" fmla="*/ 220908 w 3466471"/>
              <a:gd name="connsiteY7" fmla="*/ 647 h 5094647"/>
              <a:gd name="connsiteX0" fmla="*/ 220908 w 3468187"/>
              <a:gd name="connsiteY0" fmla="*/ 647 h 5094647"/>
              <a:gd name="connsiteX1" fmla="*/ 3465911 w 3468187"/>
              <a:gd name="connsiteY1" fmla="*/ 0 h 5094647"/>
              <a:gd name="connsiteX2" fmla="*/ 3456000 w 3468187"/>
              <a:gd name="connsiteY2" fmla="*/ 5094647 h 5094647"/>
              <a:gd name="connsiteX3" fmla="*/ 3456000 w 3468187"/>
              <a:gd name="connsiteY3" fmla="*/ 5094647 h 5094647"/>
              <a:gd name="connsiteX4" fmla="*/ 0 w 3468187"/>
              <a:gd name="connsiteY4" fmla="*/ 5094647 h 5094647"/>
              <a:gd name="connsiteX5" fmla="*/ 0 w 3468187"/>
              <a:gd name="connsiteY5" fmla="*/ 5094647 h 5094647"/>
              <a:gd name="connsiteX6" fmla="*/ 0 w 3468187"/>
              <a:gd name="connsiteY6" fmla="*/ 221555 h 5094647"/>
              <a:gd name="connsiteX7" fmla="*/ 220908 w 3468187"/>
              <a:gd name="connsiteY7" fmla="*/ 647 h 5094647"/>
              <a:gd name="connsiteX0" fmla="*/ 220908 w 3467534"/>
              <a:gd name="connsiteY0" fmla="*/ 647 h 5094647"/>
              <a:gd name="connsiteX1" fmla="*/ 3465911 w 3467534"/>
              <a:gd name="connsiteY1" fmla="*/ 0 h 5094647"/>
              <a:gd name="connsiteX2" fmla="*/ 3456000 w 3467534"/>
              <a:gd name="connsiteY2" fmla="*/ 5094647 h 5094647"/>
              <a:gd name="connsiteX3" fmla="*/ 3456000 w 3467534"/>
              <a:gd name="connsiteY3" fmla="*/ 5094647 h 5094647"/>
              <a:gd name="connsiteX4" fmla="*/ 0 w 3467534"/>
              <a:gd name="connsiteY4" fmla="*/ 5094647 h 5094647"/>
              <a:gd name="connsiteX5" fmla="*/ 0 w 3467534"/>
              <a:gd name="connsiteY5" fmla="*/ 5094647 h 5094647"/>
              <a:gd name="connsiteX6" fmla="*/ 0 w 3467534"/>
              <a:gd name="connsiteY6" fmla="*/ 221555 h 5094647"/>
              <a:gd name="connsiteX7" fmla="*/ 220908 w 3467534"/>
              <a:gd name="connsiteY7" fmla="*/ 647 h 5094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67534" h="5094647">
                <a:moveTo>
                  <a:pt x="220908" y="647"/>
                </a:moveTo>
                <a:lnTo>
                  <a:pt x="3465911" y="0"/>
                </a:lnTo>
                <a:cubicBezTo>
                  <a:pt x="3472433" y="955533"/>
                  <a:pt x="3457282" y="4251997"/>
                  <a:pt x="3456000" y="5094647"/>
                </a:cubicBezTo>
                <a:lnTo>
                  <a:pt x="3456000" y="5094647"/>
                </a:lnTo>
                <a:lnTo>
                  <a:pt x="0" y="5094647"/>
                </a:lnTo>
                <a:lnTo>
                  <a:pt x="0" y="5094647"/>
                </a:lnTo>
                <a:lnTo>
                  <a:pt x="0" y="221555"/>
                </a:lnTo>
                <a:cubicBezTo>
                  <a:pt x="0" y="99551"/>
                  <a:pt x="98904" y="647"/>
                  <a:pt x="220908" y="647"/>
                </a:cubicBezTo>
                <a:close/>
              </a:path>
            </a:pathLst>
          </a:cu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4"/>
            <a:ext cx="6624000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7" y="3789169"/>
            <a:ext cx="6624000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7200777" y="5661169"/>
            <a:ext cx="4608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2973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изображение (вертик.) с_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Объект 9"/>
          <p:cNvSpPr>
            <a:spLocks noGrp="1"/>
          </p:cNvSpPr>
          <p:nvPr>
            <p:ph sz="quarter" idx="20"/>
          </p:nvPr>
        </p:nvSpPr>
        <p:spPr>
          <a:xfrm>
            <a:off x="7200777" y="1215823"/>
            <a:ext cx="4623379" cy="5094647"/>
          </a:xfrm>
          <a:custGeom>
            <a:avLst/>
            <a:gdLst>
              <a:gd name="connsiteX0" fmla="*/ 220908 w 3456000"/>
              <a:gd name="connsiteY0" fmla="*/ 0 h 5094000"/>
              <a:gd name="connsiteX1" fmla="*/ 3235092 w 3456000"/>
              <a:gd name="connsiteY1" fmla="*/ 0 h 5094000"/>
              <a:gd name="connsiteX2" fmla="*/ 3456000 w 3456000"/>
              <a:gd name="connsiteY2" fmla="*/ 220908 h 5094000"/>
              <a:gd name="connsiteX3" fmla="*/ 3456000 w 3456000"/>
              <a:gd name="connsiteY3" fmla="*/ 5094000 h 5094000"/>
              <a:gd name="connsiteX4" fmla="*/ 3456000 w 3456000"/>
              <a:gd name="connsiteY4" fmla="*/ 5094000 h 5094000"/>
              <a:gd name="connsiteX5" fmla="*/ 0 w 3456000"/>
              <a:gd name="connsiteY5" fmla="*/ 5094000 h 5094000"/>
              <a:gd name="connsiteX6" fmla="*/ 0 w 3456000"/>
              <a:gd name="connsiteY6" fmla="*/ 5094000 h 5094000"/>
              <a:gd name="connsiteX7" fmla="*/ 0 w 3456000"/>
              <a:gd name="connsiteY7" fmla="*/ 220908 h 5094000"/>
              <a:gd name="connsiteX8" fmla="*/ 220908 w 3456000"/>
              <a:gd name="connsiteY8" fmla="*/ 0 h 5094000"/>
              <a:gd name="connsiteX0" fmla="*/ 220908 w 3536983"/>
              <a:gd name="connsiteY0" fmla="*/ 0 h 5094000"/>
              <a:gd name="connsiteX1" fmla="*/ 3235092 w 3536983"/>
              <a:gd name="connsiteY1" fmla="*/ 0 h 5094000"/>
              <a:gd name="connsiteX2" fmla="*/ 3456000 w 3536983"/>
              <a:gd name="connsiteY2" fmla="*/ 5094000 h 5094000"/>
              <a:gd name="connsiteX3" fmla="*/ 3456000 w 3536983"/>
              <a:gd name="connsiteY3" fmla="*/ 5094000 h 5094000"/>
              <a:gd name="connsiteX4" fmla="*/ 0 w 3536983"/>
              <a:gd name="connsiteY4" fmla="*/ 5094000 h 5094000"/>
              <a:gd name="connsiteX5" fmla="*/ 0 w 3536983"/>
              <a:gd name="connsiteY5" fmla="*/ 5094000 h 5094000"/>
              <a:gd name="connsiteX6" fmla="*/ 0 w 3536983"/>
              <a:gd name="connsiteY6" fmla="*/ 220908 h 5094000"/>
              <a:gd name="connsiteX7" fmla="*/ 220908 w 3536983"/>
              <a:gd name="connsiteY7" fmla="*/ 0 h 5094000"/>
              <a:gd name="connsiteX0" fmla="*/ 220908 w 3456000"/>
              <a:gd name="connsiteY0" fmla="*/ 0 h 5094000"/>
              <a:gd name="connsiteX1" fmla="*/ 3235092 w 3456000"/>
              <a:gd name="connsiteY1" fmla="*/ 0 h 5094000"/>
              <a:gd name="connsiteX2" fmla="*/ 3456000 w 3456000"/>
              <a:gd name="connsiteY2" fmla="*/ 5094000 h 5094000"/>
              <a:gd name="connsiteX3" fmla="*/ 3456000 w 3456000"/>
              <a:gd name="connsiteY3" fmla="*/ 5094000 h 5094000"/>
              <a:gd name="connsiteX4" fmla="*/ 0 w 3456000"/>
              <a:gd name="connsiteY4" fmla="*/ 5094000 h 5094000"/>
              <a:gd name="connsiteX5" fmla="*/ 0 w 3456000"/>
              <a:gd name="connsiteY5" fmla="*/ 5094000 h 5094000"/>
              <a:gd name="connsiteX6" fmla="*/ 0 w 3456000"/>
              <a:gd name="connsiteY6" fmla="*/ 220908 h 5094000"/>
              <a:gd name="connsiteX7" fmla="*/ 220908 w 3456000"/>
              <a:gd name="connsiteY7" fmla="*/ 0 h 5094000"/>
              <a:gd name="connsiteX0" fmla="*/ 220908 w 3466123"/>
              <a:gd name="connsiteY0" fmla="*/ 0 h 5094000"/>
              <a:gd name="connsiteX1" fmla="*/ 3457034 w 3466123"/>
              <a:gd name="connsiteY1" fmla="*/ 0 h 5094000"/>
              <a:gd name="connsiteX2" fmla="*/ 3456000 w 3466123"/>
              <a:gd name="connsiteY2" fmla="*/ 5094000 h 5094000"/>
              <a:gd name="connsiteX3" fmla="*/ 3456000 w 3466123"/>
              <a:gd name="connsiteY3" fmla="*/ 5094000 h 5094000"/>
              <a:gd name="connsiteX4" fmla="*/ 0 w 3466123"/>
              <a:gd name="connsiteY4" fmla="*/ 5094000 h 5094000"/>
              <a:gd name="connsiteX5" fmla="*/ 0 w 3466123"/>
              <a:gd name="connsiteY5" fmla="*/ 5094000 h 5094000"/>
              <a:gd name="connsiteX6" fmla="*/ 0 w 3466123"/>
              <a:gd name="connsiteY6" fmla="*/ 220908 h 5094000"/>
              <a:gd name="connsiteX7" fmla="*/ 220908 w 3466123"/>
              <a:gd name="connsiteY7" fmla="*/ 0 h 5094000"/>
              <a:gd name="connsiteX0" fmla="*/ 220908 w 3457700"/>
              <a:gd name="connsiteY0" fmla="*/ 0 h 5094000"/>
              <a:gd name="connsiteX1" fmla="*/ 3457034 w 3457700"/>
              <a:gd name="connsiteY1" fmla="*/ 0 h 5094000"/>
              <a:gd name="connsiteX2" fmla="*/ 3456000 w 3457700"/>
              <a:gd name="connsiteY2" fmla="*/ 5094000 h 5094000"/>
              <a:gd name="connsiteX3" fmla="*/ 3456000 w 3457700"/>
              <a:gd name="connsiteY3" fmla="*/ 5094000 h 5094000"/>
              <a:gd name="connsiteX4" fmla="*/ 0 w 3457700"/>
              <a:gd name="connsiteY4" fmla="*/ 5094000 h 5094000"/>
              <a:gd name="connsiteX5" fmla="*/ 0 w 3457700"/>
              <a:gd name="connsiteY5" fmla="*/ 5094000 h 5094000"/>
              <a:gd name="connsiteX6" fmla="*/ 0 w 3457700"/>
              <a:gd name="connsiteY6" fmla="*/ 220908 h 5094000"/>
              <a:gd name="connsiteX7" fmla="*/ 220908 w 3457700"/>
              <a:gd name="connsiteY7" fmla="*/ 0 h 5094000"/>
              <a:gd name="connsiteX0" fmla="*/ 220908 w 3466471"/>
              <a:gd name="connsiteY0" fmla="*/ 0 h 5094000"/>
              <a:gd name="connsiteX1" fmla="*/ 3465911 w 3466471"/>
              <a:gd name="connsiteY1" fmla="*/ 8878 h 5094000"/>
              <a:gd name="connsiteX2" fmla="*/ 3456000 w 3466471"/>
              <a:gd name="connsiteY2" fmla="*/ 5094000 h 5094000"/>
              <a:gd name="connsiteX3" fmla="*/ 3456000 w 3466471"/>
              <a:gd name="connsiteY3" fmla="*/ 5094000 h 5094000"/>
              <a:gd name="connsiteX4" fmla="*/ 0 w 3466471"/>
              <a:gd name="connsiteY4" fmla="*/ 5094000 h 5094000"/>
              <a:gd name="connsiteX5" fmla="*/ 0 w 3466471"/>
              <a:gd name="connsiteY5" fmla="*/ 5094000 h 5094000"/>
              <a:gd name="connsiteX6" fmla="*/ 0 w 3466471"/>
              <a:gd name="connsiteY6" fmla="*/ 220908 h 5094000"/>
              <a:gd name="connsiteX7" fmla="*/ 220908 w 3466471"/>
              <a:gd name="connsiteY7" fmla="*/ 0 h 5094000"/>
              <a:gd name="connsiteX0" fmla="*/ 220908 w 3456000"/>
              <a:gd name="connsiteY0" fmla="*/ 0 h 5094000"/>
              <a:gd name="connsiteX1" fmla="*/ 3442099 w 3456000"/>
              <a:gd name="connsiteY1" fmla="*/ 23165 h 5094000"/>
              <a:gd name="connsiteX2" fmla="*/ 3456000 w 3456000"/>
              <a:gd name="connsiteY2" fmla="*/ 5094000 h 5094000"/>
              <a:gd name="connsiteX3" fmla="*/ 3456000 w 3456000"/>
              <a:gd name="connsiteY3" fmla="*/ 5094000 h 5094000"/>
              <a:gd name="connsiteX4" fmla="*/ 0 w 3456000"/>
              <a:gd name="connsiteY4" fmla="*/ 5094000 h 5094000"/>
              <a:gd name="connsiteX5" fmla="*/ 0 w 3456000"/>
              <a:gd name="connsiteY5" fmla="*/ 5094000 h 5094000"/>
              <a:gd name="connsiteX6" fmla="*/ 0 w 3456000"/>
              <a:gd name="connsiteY6" fmla="*/ 220908 h 5094000"/>
              <a:gd name="connsiteX7" fmla="*/ 220908 w 3456000"/>
              <a:gd name="connsiteY7" fmla="*/ 0 h 5094000"/>
              <a:gd name="connsiteX0" fmla="*/ 220908 w 3456000"/>
              <a:gd name="connsiteY0" fmla="*/ 647 h 5094647"/>
              <a:gd name="connsiteX1" fmla="*/ 3451624 w 3456000"/>
              <a:gd name="connsiteY1" fmla="*/ 0 h 5094647"/>
              <a:gd name="connsiteX2" fmla="*/ 3456000 w 3456000"/>
              <a:gd name="connsiteY2" fmla="*/ 5094647 h 5094647"/>
              <a:gd name="connsiteX3" fmla="*/ 3456000 w 3456000"/>
              <a:gd name="connsiteY3" fmla="*/ 5094647 h 5094647"/>
              <a:gd name="connsiteX4" fmla="*/ 0 w 3456000"/>
              <a:gd name="connsiteY4" fmla="*/ 5094647 h 5094647"/>
              <a:gd name="connsiteX5" fmla="*/ 0 w 3456000"/>
              <a:gd name="connsiteY5" fmla="*/ 5094647 h 5094647"/>
              <a:gd name="connsiteX6" fmla="*/ 0 w 3456000"/>
              <a:gd name="connsiteY6" fmla="*/ 221555 h 5094647"/>
              <a:gd name="connsiteX7" fmla="*/ 220908 w 3456000"/>
              <a:gd name="connsiteY7" fmla="*/ 647 h 5094647"/>
              <a:gd name="connsiteX0" fmla="*/ 220908 w 3466471"/>
              <a:gd name="connsiteY0" fmla="*/ 647 h 5094647"/>
              <a:gd name="connsiteX1" fmla="*/ 3465911 w 3466471"/>
              <a:gd name="connsiteY1" fmla="*/ 0 h 5094647"/>
              <a:gd name="connsiteX2" fmla="*/ 3456000 w 3466471"/>
              <a:gd name="connsiteY2" fmla="*/ 5094647 h 5094647"/>
              <a:gd name="connsiteX3" fmla="*/ 3456000 w 3466471"/>
              <a:gd name="connsiteY3" fmla="*/ 5094647 h 5094647"/>
              <a:gd name="connsiteX4" fmla="*/ 0 w 3466471"/>
              <a:gd name="connsiteY4" fmla="*/ 5094647 h 5094647"/>
              <a:gd name="connsiteX5" fmla="*/ 0 w 3466471"/>
              <a:gd name="connsiteY5" fmla="*/ 5094647 h 5094647"/>
              <a:gd name="connsiteX6" fmla="*/ 0 w 3466471"/>
              <a:gd name="connsiteY6" fmla="*/ 221555 h 5094647"/>
              <a:gd name="connsiteX7" fmla="*/ 220908 w 3466471"/>
              <a:gd name="connsiteY7" fmla="*/ 647 h 5094647"/>
              <a:gd name="connsiteX0" fmla="*/ 220908 w 3466471"/>
              <a:gd name="connsiteY0" fmla="*/ 647 h 5094647"/>
              <a:gd name="connsiteX1" fmla="*/ 3465911 w 3466471"/>
              <a:gd name="connsiteY1" fmla="*/ 0 h 5094647"/>
              <a:gd name="connsiteX2" fmla="*/ 3456000 w 3466471"/>
              <a:gd name="connsiteY2" fmla="*/ 5094647 h 5094647"/>
              <a:gd name="connsiteX3" fmla="*/ 3456000 w 3466471"/>
              <a:gd name="connsiteY3" fmla="*/ 5094647 h 5094647"/>
              <a:gd name="connsiteX4" fmla="*/ 0 w 3466471"/>
              <a:gd name="connsiteY4" fmla="*/ 5094647 h 5094647"/>
              <a:gd name="connsiteX5" fmla="*/ 0 w 3466471"/>
              <a:gd name="connsiteY5" fmla="*/ 5094647 h 5094647"/>
              <a:gd name="connsiteX6" fmla="*/ 0 w 3466471"/>
              <a:gd name="connsiteY6" fmla="*/ 221555 h 5094647"/>
              <a:gd name="connsiteX7" fmla="*/ 220908 w 3466471"/>
              <a:gd name="connsiteY7" fmla="*/ 647 h 5094647"/>
              <a:gd name="connsiteX0" fmla="*/ 220908 w 3468187"/>
              <a:gd name="connsiteY0" fmla="*/ 647 h 5094647"/>
              <a:gd name="connsiteX1" fmla="*/ 3465911 w 3468187"/>
              <a:gd name="connsiteY1" fmla="*/ 0 h 5094647"/>
              <a:gd name="connsiteX2" fmla="*/ 3456000 w 3468187"/>
              <a:gd name="connsiteY2" fmla="*/ 5094647 h 5094647"/>
              <a:gd name="connsiteX3" fmla="*/ 3456000 w 3468187"/>
              <a:gd name="connsiteY3" fmla="*/ 5094647 h 5094647"/>
              <a:gd name="connsiteX4" fmla="*/ 0 w 3468187"/>
              <a:gd name="connsiteY4" fmla="*/ 5094647 h 5094647"/>
              <a:gd name="connsiteX5" fmla="*/ 0 w 3468187"/>
              <a:gd name="connsiteY5" fmla="*/ 5094647 h 5094647"/>
              <a:gd name="connsiteX6" fmla="*/ 0 w 3468187"/>
              <a:gd name="connsiteY6" fmla="*/ 221555 h 5094647"/>
              <a:gd name="connsiteX7" fmla="*/ 220908 w 3468187"/>
              <a:gd name="connsiteY7" fmla="*/ 647 h 5094647"/>
              <a:gd name="connsiteX0" fmla="*/ 220908 w 3467534"/>
              <a:gd name="connsiteY0" fmla="*/ 647 h 5094647"/>
              <a:gd name="connsiteX1" fmla="*/ 3465911 w 3467534"/>
              <a:gd name="connsiteY1" fmla="*/ 0 h 5094647"/>
              <a:gd name="connsiteX2" fmla="*/ 3456000 w 3467534"/>
              <a:gd name="connsiteY2" fmla="*/ 5094647 h 5094647"/>
              <a:gd name="connsiteX3" fmla="*/ 3456000 w 3467534"/>
              <a:gd name="connsiteY3" fmla="*/ 5094647 h 5094647"/>
              <a:gd name="connsiteX4" fmla="*/ 0 w 3467534"/>
              <a:gd name="connsiteY4" fmla="*/ 5094647 h 5094647"/>
              <a:gd name="connsiteX5" fmla="*/ 0 w 3467534"/>
              <a:gd name="connsiteY5" fmla="*/ 5094647 h 5094647"/>
              <a:gd name="connsiteX6" fmla="*/ 0 w 3467534"/>
              <a:gd name="connsiteY6" fmla="*/ 221555 h 5094647"/>
              <a:gd name="connsiteX7" fmla="*/ 220908 w 3467534"/>
              <a:gd name="connsiteY7" fmla="*/ 647 h 5094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67534" h="5094647">
                <a:moveTo>
                  <a:pt x="220908" y="647"/>
                </a:moveTo>
                <a:lnTo>
                  <a:pt x="3465911" y="0"/>
                </a:lnTo>
                <a:cubicBezTo>
                  <a:pt x="3472433" y="955533"/>
                  <a:pt x="3457282" y="4251997"/>
                  <a:pt x="3456000" y="5094647"/>
                </a:cubicBezTo>
                <a:lnTo>
                  <a:pt x="3456000" y="5094647"/>
                </a:lnTo>
                <a:lnTo>
                  <a:pt x="0" y="5094647"/>
                </a:lnTo>
                <a:lnTo>
                  <a:pt x="0" y="5094647"/>
                </a:lnTo>
                <a:lnTo>
                  <a:pt x="0" y="221555"/>
                </a:lnTo>
                <a:cubicBezTo>
                  <a:pt x="0" y="99551"/>
                  <a:pt x="98904" y="647"/>
                  <a:pt x="220908" y="647"/>
                </a:cubicBezTo>
                <a:close/>
              </a:path>
            </a:pathLst>
          </a:cu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74651" y="1647540"/>
            <a:ext cx="6624000" cy="2088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6624000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74651" y="1629047"/>
            <a:ext cx="66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9"/>
          <p:cNvSpPr>
            <a:spLocks noGrp="1"/>
          </p:cNvSpPr>
          <p:nvPr>
            <p:ph sz="quarter" idx="18"/>
          </p:nvPr>
        </p:nvSpPr>
        <p:spPr>
          <a:xfrm>
            <a:off x="374651" y="4222977"/>
            <a:ext cx="6624000" cy="2088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Текст 16"/>
          <p:cNvSpPr>
            <a:spLocks noGrp="1"/>
          </p:cNvSpPr>
          <p:nvPr>
            <p:ph type="body" sz="quarter" idx="19"/>
          </p:nvPr>
        </p:nvSpPr>
        <p:spPr>
          <a:xfrm>
            <a:off x="374651" y="3791462"/>
            <a:ext cx="6624000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374651" y="4204484"/>
            <a:ext cx="66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7200777" y="5661169"/>
            <a:ext cx="4608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415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9909384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 hidden="1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0736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117" y="163284"/>
            <a:ext cx="8785225" cy="6334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3117" y="1225220"/>
            <a:ext cx="11427883" cy="5071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76587" y="6549155"/>
            <a:ext cx="430448" cy="1920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AEBC907-F46C-43DB-891C-FAF67FA8713C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34" name="Прямая соединительная линия 33"/>
          <p:cNvCxnSpPr/>
          <p:nvPr userDrawn="1"/>
        </p:nvCxnSpPr>
        <p:spPr>
          <a:xfrm>
            <a:off x="383117" y="6345816"/>
            <a:ext cx="114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 userDrawn="1"/>
        </p:nvCxnSpPr>
        <p:spPr>
          <a:xfrm>
            <a:off x="383117" y="882086"/>
            <a:ext cx="1142400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 hidden="1"/>
          <p:cNvGrpSpPr/>
          <p:nvPr userDrawn="1"/>
        </p:nvGrpSpPr>
        <p:grpSpPr>
          <a:xfrm>
            <a:off x="383117" y="1016240"/>
            <a:ext cx="1598083" cy="115200"/>
            <a:chOff x="287338" y="1016240"/>
            <a:chExt cx="1198562" cy="115200"/>
          </a:xfrm>
        </p:grpSpPr>
        <p:sp>
          <p:nvSpPr>
            <p:cNvPr id="32" name="Box3"/>
            <p:cNvSpPr>
              <a:spLocks/>
            </p:cNvSpPr>
            <p:nvPr userDrawn="1"/>
          </p:nvSpPr>
          <p:spPr bwMode="auto">
            <a:xfrm>
              <a:off x="720725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33" name="Box2"/>
            <p:cNvSpPr>
              <a:spLocks/>
            </p:cNvSpPr>
            <p:nvPr userDrawn="1"/>
          </p:nvSpPr>
          <p:spPr bwMode="auto">
            <a:xfrm>
              <a:off x="504825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36" name="Box1"/>
            <p:cNvSpPr>
              <a:spLocks/>
            </p:cNvSpPr>
            <p:nvPr userDrawn="1"/>
          </p:nvSpPr>
          <p:spPr bwMode="auto">
            <a:xfrm>
              <a:off x="287338" y="1016240"/>
              <a:ext cx="114300" cy="1152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37" name="Box5"/>
            <p:cNvSpPr>
              <a:spLocks/>
            </p:cNvSpPr>
            <p:nvPr userDrawn="1"/>
          </p:nvSpPr>
          <p:spPr bwMode="auto">
            <a:xfrm>
              <a:off x="1154113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38" name="Box4"/>
            <p:cNvSpPr>
              <a:spLocks/>
            </p:cNvSpPr>
            <p:nvPr userDrawn="1"/>
          </p:nvSpPr>
          <p:spPr bwMode="auto">
            <a:xfrm>
              <a:off x="938213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45" name="Box6"/>
            <p:cNvSpPr>
              <a:spLocks/>
            </p:cNvSpPr>
            <p:nvPr userDrawn="1"/>
          </p:nvSpPr>
          <p:spPr bwMode="auto">
            <a:xfrm>
              <a:off x="1371600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</p:grp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4508" y="156969"/>
            <a:ext cx="1021781" cy="444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397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  <p:sldLayoutId id="2147483801" r:id="rId16"/>
    <p:sldLayoutId id="2147483802" r:id="rId17"/>
    <p:sldLayoutId id="2147483803" r:id="rId18"/>
    <p:sldLayoutId id="2147483826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1200"/>
        </a:spcBef>
        <a:buClr>
          <a:schemeClr val="accent2"/>
        </a:buClr>
        <a:buFont typeface="Arial" panose="020B060402020202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85775" indent="-304800" algn="l" defTabSz="914400" rtl="0" eaLnBrk="1" latinLnBrk="0" hangingPunct="1">
        <a:spcBef>
          <a:spcPts val="600"/>
        </a:spcBef>
        <a:buClr>
          <a:schemeClr val="accent6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" userDrawn="1">
          <p15:clr>
            <a:srgbClr val="F26B43"/>
          </p15:clr>
        </p15:guide>
        <p15:guide id="2" pos="236" userDrawn="1">
          <p15:clr>
            <a:srgbClr val="F26B43"/>
          </p15:clr>
        </p15:guide>
        <p15:guide id="3" pos="7444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pos="6501" userDrawn="1">
          <p15:clr>
            <a:srgbClr val="F26B43"/>
          </p15:clr>
        </p15:guide>
        <p15:guide id="6" orient="horz" pos="3998" userDrawn="1">
          <p15:clr>
            <a:srgbClr val="F26B43"/>
          </p15:clr>
        </p15:guide>
        <p15:guide id="7" pos="575" userDrawn="1">
          <p15:clr>
            <a:srgbClr val="F26B43"/>
          </p15:clr>
        </p15:guide>
        <p15:guide id="8" orient="horz" pos="2160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554" userDrawn="1">
          <p15:clr>
            <a:srgbClr val="F26B43"/>
          </p15:clr>
        </p15:guide>
        <p15:guide id="11" orient="horz" pos="4222" userDrawn="1">
          <p15:clr>
            <a:srgbClr val="F26B43"/>
          </p15:clr>
        </p15:guide>
        <p15:guide id="12" orient="horz" pos="766" userDrawn="1">
          <p15:clr>
            <a:srgbClr val="F26B43"/>
          </p15:clr>
        </p15:guide>
        <p15:guide id="13" orient="horz" pos="2568" userDrawn="1">
          <p15:clr>
            <a:srgbClr val="F26B43"/>
          </p15:clr>
        </p15:guide>
        <p15:guide id="14" orient="horz" pos="4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hidden="1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0736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117" y="163284"/>
            <a:ext cx="8785225" cy="6334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3117" y="1225220"/>
            <a:ext cx="11427883" cy="5071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76587" y="6549155"/>
            <a:ext cx="430448" cy="1920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AEBC907-F46C-43DB-891C-FAF67FA8713C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34" name="Прямая соединительная линия 33"/>
          <p:cNvCxnSpPr/>
          <p:nvPr userDrawn="1"/>
        </p:nvCxnSpPr>
        <p:spPr>
          <a:xfrm>
            <a:off x="383117" y="6345816"/>
            <a:ext cx="114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 userDrawn="1"/>
        </p:nvCxnSpPr>
        <p:spPr>
          <a:xfrm>
            <a:off x="383117" y="882086"/>
            <a:ext cx="1142400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noska1"/>
          <p:cNvSpPr txBox="1">
            <a:spLocks/>
          </p:cNvSpPr>
          <p:nvPr userDrawn="1"/>
        </p:nvSpPr>
        <p:spPr>
          <a:xfrm>
            <a:off x="483026" y="6441497"/>
            <a:ext cx="11327975" cy="14347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75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dirty="0" smtClean="0"/>
              <a:t>Сноска 1</a:t>
            </a:r>
            <a:endParaRPr lang="ru-RU" sz="1000" dirty="0"/>
          </a:p>
        </p:txBody>
      </p:sp>
      <p:sp>
        <p:nvSpPr>
          <p:cNvPr id="28" name="snoska2"/>
          <p:cNvSpPr txBox="1">
            <a:spLocks/>
          </p:cNvSpPr>
          <p:nvPr userDrawn="1"/>
        </p:nvSpPr>
        <p:spPr>
          <a:xfrm>
            <a:off x="483026" y="6587097"/>
            <a:ext cx="11327975" cy="14347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75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dirty="0" smtClean="0"/>
              <a:t>Сноска 2</a:t>
            </a:r>
            <a:endParaRPr lang="ru-RU" sz="1000" dirty="0"/>
          </a:p>
        </p:txBody>
      </p:sp>
      <p:sp>
        <p:nvSpPr>
          <p:cNvPr id="29" name="number_snoska1"/>
          <p:cNvSpPr txBox="1">
            <a:spLocks/>
          </p:cNvSpPr>
          <p:nvPr userDrawn="1"/>
        </p:nvSpPr>
        <p:spPr>
          <a:xfrm>
            <a:off x="384000" y="6442126"/>
            <a:ext cx="96000" cy="108000"/>
          </a:xfrm>
          <a:prstGeom prst="rect">
            <a:avLst/>
          </a:prstGeom>
        </p:spPr>
        <p:txBody>
          <a:bodyPr tIns="1440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600" kern="1200" baseline="300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 smtClean="0"/>
              <a:t>1</a:t>
            </a:r>
            <a:endParaRPr lang="ru-RU" sz="800" dirty="0"/>
          </a:p>
        </p:txBody>
      </p:sp>
      <p:sp>
        <p:nvSpPr>
          <p:cNvPr id="30" name="number_snoska2"/>
          <p:cNvSpPr txBox="1">
            <a:spLocks/>
          </p:cNvSpPr>
          <p:nvPr userDrawn="1"/>
        </p:nvSpPr>
        <p:spPr>
          <a:xfrm>
            <a:off x="383120" y="6587215"/>
            <a:ext cx="95249" cy="108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600" kern="1200" baseline="300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 smtClean="0"/>
              <a:t>2</a:t>
            </a:r>
            <a:endParaRPr lang="ru-RU" sz="800" dirty="0"/>
          </a:p>
        </p:txBody>
      </p:sp>
      <p:grpSp>
        <p:nvGrpSpPr>
          <p:cNvPr id="4" name="Группа 3" hidden="1"/>
          <p:cNvGrpSpPr/>
          <p:nvPr userDrawn="1"/>
        </p:nvGrpSpPr>
        <p:grpSpPr>
          <a:xfrm>
            <a:off x="383117" y="1016240"/>
            <a:ext cx="1598083" cy="115200"/>
            <a:chOff x="287338" y="1016240"/>
            <a:chExt cx="1198562" cy="115200"/>
          </a:xfrm>
        </p:grpSpPr>
        <p:sp>
          <p:nvSpPr>
            <p:cNvPr id="32" name="Box3"/>
            <p:cNvSpPr>
              <a:spLocks/>
            </p:cNvSpPr>
            <p:nvPr userDrawn="1"/>
          </p:nvSpPr>
          <p:spPr bwMode="auto">
            <a:xfrm>
              <a:off x="720725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33" name="Box2"/>
            <p:cNvSpPr>
              <a:spLocks/>
            </p:cNvSpPr>
            <p:nvPr userDrawn="1"/>
          </p:nvSpPr>
          <p:spPr bwMode="auto">
            <a:xfrm>
              <a:off x="504825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36" name="Box1"/>
            <p:cNvSpPr>
              <a:spLocks/>
            </p:cNvSpPr>
            <p:nvPr userDrawn="1"/>
          </p:nvSpPr>
          <p:spPr bwMode="auto">
            <a:xfrm>
              <a:off x="287338" y="1016240"/>
              <a:ext cx="114300" cy="1152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37" name="Box5"/>
            <p:cNvSpPr>
              <a:spLocks/>
            </p:cNvSpPr>
            <p:nvPr userDrawn="1"/>
          </p:nvSpPr>
          <p:spPr bwMode="auto">
            <a:xfrm>
              <a:off x="1154113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38" name="Box4"/>
            <p:cNvSpPr>
              <a:spLocks/>
            </p:cNvSpPr>
            <p:nvPr userDrawn="1"/>
          </p:nvSpPr>
          <p:spPr bwMode="auto">
            <a:xfrm>
              <a:off x="938213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  <p:sp>
          <p:nvSpPr>
            <p:cNvPr id="45" name="Box6"/>
            <p:cNvSpPr>
              <a:spLocks/>
            </p:cNvSpPr>
            <p:nvPr userDrawn="1"/>
          </p:nvSpPr>
          <p:spPr bwMode="auto">
            <a:xfrm>
              <a:off x="1371600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u="sng"/>
            </a:p>
          </p:txBody>
        </p:sp>
      </p:grpSp>
      <p:sp>
        <p:nvSpPr>
          <p:cNvPr id="22" name="com_taina"/>
          <p:cNvSpPr txBox="1"/>
          <p:nvPr userDrawn="1"/>
        </p:nvSpPr>
        <p:spPr>
          <a:xfrm>
            <a:off x="10613740" y="711347"/>
            <a:ext cx="894476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30" dirty="0" smtClean="0">
                <a:solidFill>
                  <a:srgbClr val="5B5B5B"/>
                </a:solidFill>
              </a:rPr>
              <a:t>Коммерческая тайна</a:t>
            </a:r>
            <a:endParaRPr lang="ru-RU" sz="730" dirty="0">
              <a:solidFill>
                <a:srgbClr val="5B5B5B"/>
              </a:solidFill>
            </a:endParaRPr>
          </a:p>
        </p:txBody>
      </p: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4508" y="156969"/>
            <a:ext cx="1021781" cy="444497"/>
          </a:xfrm>
          <a:prstGeom prst="rect">
            <a:avLst/>
          </a:prstGeom>
        </p:spPr>
      </p:pic>
      <p:sp>
        <p:nvSpPr>
          <p:cNvPr id="42" name="Box3"/>
          <p:cNvSpPr>
            <a:spLocks/>
          </p:cNvSpPr>
          <p:nvPr userDrawn="1"/>
        </p:nvSpPr>
        <p:spPr bwMode="auto">
          <a:xfrm>
            <a:off x="801006" y="1016120"/>
            <a:ext cx="110212" cy="83310"/>
          </a:xfrm>
          <a:prstGeom prst="ellipse">
            <a:avLst/>
          </a:prstGeom>
          <a:solidFill>
            <a:schemeClr val="accent6"/>
          </a:solidFill>
          <a:ln>
            <a:noFill/>
          </a:ln>
          <a:extLst/>
        </p:spPr>
        <p:txBody>
          <a:bodyPr vert="horz" wrap="square" lIns="54000" tIns="45720" rIns="54000" bIns="45720" numCol="1" anchor="t" anchorCtr="0" compatLnSpc="1">
            <a:prstTxWarp prst="textNoShape">
              <a:avLst/>
            </a:prstTxWarp>
          </a:bodyPr>
          <a:lstStyle/>
          <a:p>
            <a:endParaRPr lang="ru-RU" sz="1800" u="sng"/>
          </a:p>
        </p:txBody>
      </p:sp>
      <p:sp>
        <p:nvSpPr>
          <p:cNvPr id="43" name="Box2"/>
          <p:cNvSpPr>
            <a:spLocks/>
          </p:cNvSpPr>
          <p:nvPr userDrawn="1"/>
        </p:nvSpPr>
        <p:spPr bwMode="auto">
          <a:xfrm>
            <a:off x="592827" y="1016120"/>
            <a:ext cx="110212" cy="83310"/>
          </a:xfrm>
          <a:prstGeom prst="ellipse">
            <a:avLst/>
          </a:prstGeom>
          <a:solidFill>
            <a:schemeClr val="accent6"/>
          </a:solidFill>
          <a:ln>
            <a:noFill/>
          </a:ln>
          <a:extLst/>
        </p:spPr>
        <p:txBody>
          <a:bodyPr vert="horz" wrap="square" lIns="54000" tIns="45720" rIns="54000" bIns="45720" numCol="1" anchor="t" anchorCtr="0" compatLnSpc="1">
            <a:prstTxWarp prst="textNoShape">
              <a:avLst/>
            </a:prstTxWarp>
          </a:bodyPr>
          <a:lstStyle/>
          <a:p>
            <a:endParaRPr lang="ru-RU" sz="1800" u="sng"/>
          </a:p>
        </p:txBody>
      </p:sp>
      <p:sp>
        <p:nvSpPr>
          <p:cNvPr id="44" name="Box1"/>
          <p:cNvSpPr>
            <a:spLocks/>
          </p:cNvSpPr>
          <p:nvPr userDrawn="1"/>
        </p:nvSpPr>
        <p:spPr bwMode="auto">
          <a:xfrm>
            <a:off x="383118" y="1016120"/>
            <a:ext cx="110212" cy="83310"/>
          </a:xfrm>
          <a:prstGeom prst="ellipse">
            <a:avLst/>
          </a:prstGeom>
          <a:solidFill>
            <a:srgbClr val="0077C8"/>
          </a:solidFill>
          <a:ln>
            <a:noFill/>
          </a:ln>
          <a:extLst/>
        </p:spPr>
        <p:txBody>
          <a:bodyPr vert="horz" wrap="square" lIns="54000" tIns="45720" rIns="54000" bIns="45720" numCol="1" anchor="t" anchorCtr="0" compatLnSpc="1">
            <a:prstTxWarp prst="textNoShape">
              <a:avLst/>
            </a:prstTxWarp>
          </a:bodyPr>
          <a:lstStyle/>
          <a:p>
            <a:endParaRPr lang="ru-RU" sz="1800" u="sng"/>
          </a:p>
        </p:txBody>
      </p:sp>
      <p:sp>
        <p:nvSpPr>
          <p:cNvPr id="46" name="Box5"/>
          <p:cNvSpPr>
            <a:spLocks/>
          </p:cNvSpPr>
          <p:nvPr userDrawn="1"/>
        </p:nvSpPr>
        <p:spPr bwMode="auto">
          <a:xfrm>
            <a:off x="1218897" y="1016120"/>
            <a:ext cx="110212" cy="83310"/>
          </a:xfrm>
          <a:prstGeom prst="ellipse">
            <a:avLst/>
          </a:prstGeom>
          <a:solidFill>
            <a:schemeClr val="accent6"/>
          </a:solidFill>
          <a:ln>
            <a:noFill/>
          </a:ln>
          <a:extLst/>
        </p:spPr>
        <p:txBody>
          <a:bodyPr vert="horz" wrap="square" lIns="54000" tIns="45720" rIns="54000" bIns="45720" numCol="1" anchor="t" anchorCtr="0" compatLnSpc="1">
            <a:prstTxWarp prst="textNoShape">
              <a:avLst/>
            </a:prstTxWarp>
          </a:bodyPr>
          <a:lstStyle/>
          <a:p>
            <a:endParaRPr lang="ru-RU" sz="1800" u="sng"/>
          </a:p>
        </p:txBody>
      </p:sp>
      <p:sp>
        <p:nvSpPr>
          <p:cNvPr id="47" name="Box4"/>
          <p:cNvSpPr>
            <a:spLocks/>
          </p:cNvSpPr>
          <p:nvPr userDrawn="1"/>
        </p:nvSpPr>
        <p:spPr bwMode="auto">
          <a:xfrm>
            <a:off x="1010717" y="1016120"/>
            <a:ext cx="110212" cy="83310"/>
          </a:xfrm>
          <a:prstGeom prst="ellipse">
            <a:avLst/>
          </a:prstGeom>
          <a:solidFill>
            <a:schemeClr val="accent6"/>
          </a:solidFill>
          <a:ln>
            <a:noFill/>
          </a:ln>
          <a:extLst/>
        </p:spPr>
        <p:txBody>
          <a:bodyPr vert="horz" wrap="square" lIns="54000" tIns="45720" rIns="54000" bIns="45720" numCol="1" anchor="t" anchorCtr="0" compatLnSpc="1">
            <a:prstTxWarp prst="textNoShape">
              <a:avLst/>
            </a:prstTxWarp>
          </a:bodyPr>
          <a:lstStyle/>
          <a:p>
            <a:endParaRPr lang="ru-RU" sz="1800" u="sng"/>
          </a:p>
        </p:txBody>
      </p:sp>
      <p:sp>
        <p:nvSpPr>
          <p:cNvPr id="48" name="Box6"/>
          <p:cNvSpPr>
            <a:spLocks/>
          </p:cNvSpPr>
          <p:nvPr userDrawn="1"/>
        </p:nvSpPr>
        <p:spPr bwMode="auto">
          <a:xfrm>
            <a:off x="1428606" y="1016120"/>
            <a:ext cx="110212" cy="83310"/>
          </a:xfrm>
          <a:prstGeom prst="ellipse">
            <a:avLst/>
          </a:prstGeom>
          <a:solidFill>
            <a:schemeClr val="accent6"/>
          </a:solidFill>
          <a:ln>
            <a:noFill/>
          </a:ln>
          <a:extLst/>
        </p:spPr>
        <p:txBody>
          <a:bodyPr vert="horz" wrap="square" lIns="54000" tIns="45720" rIns="54000" bIns="45720" numCol="1" anchor="t" anchorCtr="0" compatLnSpc="1">
            <a:prstTxWarp prst="textNoShape">
              <a:avLst/>
            </a:prstTxWarp>
          </a:bodyPr>
          <a:lstStyle/>
          <a:p>
            <a:endParaRPr lang="ru-RU" sz="1800" u="sng"/>
          </a:p>
        </p:txBody>
      </p:sp>
    </p:spTree>
    <p:extLst>
      <p:ext uri="{BB962C8B-B14F-4D97-AF65-F5344CB8AC3E}">
        <p14:creationId xmlns:p14="http://schemas.microsoft.com/office/powerpoint/2010/main" val="1462489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1200"/>
        </a:spcBef>
        <a:buClr>
          <a:schemeClr val="accent2"/>
        </a:buClr>
        <a:buFont typeface="Arial" panose="020B060402020202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85775" indent="-304800" algn="l" defTabSz="914400" rtl="0" eaLnBrk="1" latinLnBrk="0" hangingPunct="1">
        <a:spcBef>
          <a:spcPts val="600"/>
        </a:spcBef>
        <a:buClr>
          <a:schemeClr val="accent6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" userDrawn="1">
          <p15:clr>
            <a:srgbClr val="F26B43"/>
          </p15:clr>
        </p15:guide>
        <p15:guide id="2" pos="236" userDrawn="1">
          <p15:clr>
            <a:srgbClr val="F26B43"/>
          </p15:clr>
        </p15:guide>
        <p15:guide id="3" pos="7444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pos="6501" userDrawn="1">
          <p15:clr>
            <a:srgbClr val="F26B43"/>
          </p15:clr>
        </p15:guide>
        <p15:guide id="6" orient="horz" pos="3998" userDrawn="1">
          <p15:clr>
            <a:srgbClr val="F26B43"/>
          </p15:clr>
        </p15:guide>
        <p15:guide id="7" pos="575" userDrawn="1">
          <p15:clr>
            <a:srgbClr val="F26B43"/>
          </p15:clr>
        </p15:guide>
        <p15:guide id="8" orient="horz" pos="2160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554" userDrawn="1">
          <p15:clr>
            <a:srgbClr val="F26B43"/>
          </p15:clr>
        </p15:guide>
        <p15:guide id="11" orient="horz" pos="4222" userDrawn="1">
          <p15:clr>
            <a:srgbClr val="F26B43"/>
          </p15:clr>
        </p15:guide>
        <p15:guide id="12" orient="horz" pos="766" userDrawn="1">
          <p15:clr>
            <a:srgbClr val="F26B43"/>
          </p15:clr>
        </p15:guide>
        <p15:guide id="13" orient="horz" pos="2568" userDrawn="1">
          <p15:clr>
            <a:srgbClr val="F26B43"/>
          </p15:clr>
        </p15:guide>
        <p15:guide id="14" orient="horz" pos="4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wmf"/><Relationship Id="rId4" Type="http://schemas.openxmlformats.org/officeDocument/2006/relationships/image" Target="../media/image7.w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8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2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40" b="16640"/>
          <a:stretch/>
        </p:blipFill>
        <p:spPr/>
      </p:pic>
      <p:sp>
        <p:nvSpPr>
          <p:cNvPr id="26" name="Заголовок 25"/>
          <p:cNvSpPr>
            <a:spLocks noGrp="1"/>
          </p:cNvSpPr>
          <p:nvPr>
            <p:ph type="ctrTitle"/>
          </p:nvPr>
        </p:nvSpPr>
        <p:spPr>
          <a:xfrm>
            <a:off x="2210781" y="5339575"/>
            <a:ext cx="7162108" cy="366518"/>
          </a:xfrm>
        </p:spPr>
        <p:txBody>
          <a:bodyPr/>
          <a:lstStyle/>
          <a:p>
            <a:pPr>
              <a:spcBef>
                <a:spcPts val="800"/>
              </a:spcBef>
              <a:defRPr/>
            </a:pPr>
            <a:r>
              <a:rPr lang="ru-RU" sz="14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«</a:t>
            </a:r>
            <a:r>
              <a:rPr lang="ru-RU" sz="14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Лидеры российского бизнеса: динамика и ответственность - 2016»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5"/>
          </p:nvPr>
        </p:nvSpPr>
        <p:spPr>
          <a:xfrm>
            <a:off x="2351584" y="6453336"/>
            <a:ext cx="2680963" cy="216000"/>
          </a:xfrm>
        </p:spPr>
        <p:txBody>
          <a:bodyPr/>
          <a:lstStyle/>
          <a:p>
            <a:r>
              <a:rPr lang="ru-RU" sz="1200" dirty="0" smtClean="0"/>
              <a:t>Апрель 201</a:t>
            </a:r>
            <a:r>
              <a:rPr lang="en-US" sz="1200" dirty="0" smtClean="0"/>
              <a:t>7</a:t>
            </a:r>
            <a:endParaRPr lang="ru-RU" sz="1200" dirty="0"/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6"/>
          </p:nvPr>
        </p:nvSpPr>
        <p:spPr>
          <a:xfrm>
            <a:off x="3344557" y="5926904"/>
            <a:ext cx="2682000" cy="108000"/>
          </a:xfrm>
        </p:spPr>
        <p:txBody>
          <a:bodyPr/>
          <a:lstStyle/>
          <a:p>
            <a:r>
              <a:rPr lang="ru-RU" sz="1400" dirty="0">
                <a:solidFill>
                  <a:schemeClr val="bg1"/>
                </a:solidFill>
              </a:rPr>
              <a:t>0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9501" y="3356994"/>
            <a:ext cx="2800232" cy="151790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037" y="3510544"/>
            <a:ext cx="2043705" cy="433137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625842" y="4272172"/>
            <a:ext cx="98571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Модернизация производства ПАО «ГМК «Норильский никель»  </a:t>
            </a:r>
            <a:br>
              <a:rPr lang="ru-RU" sz="2400" dirty="0"/>
            </a:br>
            <a:r>
              <a:rPr lang="ru-RU" sz="2400" dirty="0"/>
              <a:t>как пример корпоративной экологической </a:t>
            </a:r>
            <a:r>
              <a:rPr lang="ru-RU" sz="2400" dirty="0" smtClean="0"/>
              <a:t>ответственности</a:t>
            </a:r>
            <a:endParaRPr lang="ru-RU" sz="2400" dirty="0"/>
          </a:p>
        </p:txBody>
      </p:sp>
      <p:sp>
        <p:nvSpPr>
          <p:cNvPr id="11" name="Заголовок 25"/>
          <p:cNvSpPr txBox="1">
            <a:spLocks/>
          </p:cNvSpPr>
          <p:nvPr/>
        </p:nvSpPr>
        <p:spPr>
          <a:xfrm>
            <a:off x="2330533" y="5951934"/>
            <a:ext cx="5647000" cy="36651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1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800"/>
              </a:spcBef>
              <a:defRPr/>
            </a:pPr>
            <a:r>
              <a:rPr lang="ru-RU" sz="14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Вице-президент – Статс-секретарь- руководитель Блока взаимодействия с органами власти и </a:t>
            </a:r>
            <a:r>
              <a:rPr lang="ru-RU" sz="14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управления</a:t>
            </a:r>
            <a:r>
              <a:rPr lang="en-US" sz="14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Е.С. Безденежных</a:t>
            </a:r>
            <a:endParaRPr lang="ru-RU" sz="14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796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92235"/>
              </p:ext>
            </p:extLst>
          </p:nvPr>
        </p:nvGraphicFramePr>
        <p:xfrm>
          <a:off x="1525445" y="1445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45" y="1445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7" name="Рисунок 24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99456" y="1484784"/>
            <a:ext cx="3414616" cy="3695270"/>
          </a:xfrm>
          <a:prstGeom prst="rect">
            <a:avLst/>
          </a:prstGeom>
        </p:spPr>
      </p:pic>
      <p:grpSp>
        <p:nvGrpSpPr>
          <p:cNvPr id="261" name="Group 191"/>
          <p:cNvGrpSpPr/>
          <p:nvPr/>
        </p:nvGrpSpPr>
        <p:grpSpPr>
          <a:xfrm>
            <a:off x="1900409" y="2692579"/>
            <a:ext cx="282665" cy="264325"/>
            <a:chOff x="8950187" y="4154374"/>
            <a:chExt cx="180000" cy="180000"/>
          </a:xfrm>
        </p:grpSpPr>
        <p:sp>
          <p:nvSpPr>
            <p:cNvPr id="265" name="Oval 381"/>
            <p:cNvSpPr>
              <a:spLocks noChangeAspect="1"/>
            </p:cNvSpPr>
            <p:nvPr/>
          </p:nvSpPr>
          <p:spPr bwMode="auto">
            <a:xfrm>
              <a:off x="8950187" y="4154374"/>
              <a:ext cx="180000" cy="180000"/>
            </a:xfrm>
            <a:prstGeom prst="ellipse">
              <a:avLst/>
            </a:prstGeom>
            <a:solidFill>
              <a:srgbClr val="D60500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sp>
          <p:nvSpPr>
            <p:cNvPr id="266" name="Freeform 298"/>
            <p:cNvSpPr>
              <a:spLocks noChangeAspect="1" noEditPoints="1"/>
            </p:cNvSpPr>
            <p:nvPr/>
          </p:nvSpPr>
          <p:spPr bwMode="auto">
            <a:xfrm>
              <a:off x="8981140" y="4207292"/>
              <a:ext cx="119911" cy="85199"/>
            </a:xfrm>
            <a:custGeom>
              <a:avLst/>
              <a:gdLst>
                <a:gd name="T0" fmla="*/ 2147483647 w 190"/>
                <a:gd name="T1" fmla="*/ 2147483647 h 118"/>
                <a:gd name="T2" fmla="*/ 2147483647 w 190"/>
                <a:gd name="T3" fmla="*/ 2147483647 h 118"/>
                <a:gd name="T4" fmla="*/ 2147483647 w 190"/>
                <a:gd name="T5" fmla="*/ 2147483647 h 118"/>
                <a:gd name="T6" fmla="*/ 2147483647 w 190"/>
                <a:gd name="T7" fmla="*/ 0 h 118"/>
                <a:gd name="T8" fmla="*/ 2147483647 w 190"/>
                <a:gd name="T9" fmla="*/ 0 h 118"/>
                <a:gd name="T10" fmla="*/ 2147483647 w 190"/>
                <a:gd name="T11" fmla="*/ 2147483647 h 118"/>
                <a:gd name="T12" fmla="*/ 0 w 190"/>
                <a:gd name="T13" fmla="*/ 2147483647 h 118"/>
                <a:gd name="T14" fmla="*/ 0 w 190"/>
                <a:gd name="T15" fmla="*/ 2147483647 h 118"/>
                <a:gd name="T16" fmla="*/ 2147483647 w 190"/>
                <a:gd name="T17" fmla="*/ 2147483647 h 118"/>
                <a:gd name="T18" fmla="*/ 2147483647 w 190"/>
                <a:gd name="T19" fmla="*/ 2147483647 h 118"/>
                <a:gd name="T20" fmla="*/ 2147483647 w 190"/>
                <a:gd name="T21" fmla="*/ 2147483647 h 118"/>
                <a:gd name="T22" fmla="*/ 2147483647 w 190"/>
                <a:gd name="T23" fmla="*/ 2147483647 h 118"/>
                <a:gd name="T24" fmla="*/ 2147483647 w 190"/>
                <a:gd name="T25" fmla="*/ 2147483647 h 118"/>
                <a:gd name="T26" fmla="*/ 2147483647 w 190"/>
                <a:gd name="T27" fmla="*/ 2147483647 h 118"/>
                <a:gd name="T28" fmla="*/ 2147483647 w 190"/>
                <a:gd name="T29" fmla="*/ 2147483647 h 118"/>
                <a:gd name="T30" fmla="*/ 2147483647 w 190"/>
                <a:gd name="T31" fmla="*/ 2147483647 h 118"/>
                <a:gd name="T32" fmla="*/ 2147483647 w 190"/>
                <a:gd name="T33" fmla="*/ 2147483647 h 118"/>
                <a:gd name="T34" fmla="*/ 2147483647 w 190"/>
                <a:gd name="T35" fmla="*/ 2147483647 h 118"/>
                <a:gd name="T36" fmla="*/ 2147483647 w 190"/>
                <a:gd name="T37" fmla="*/ 2147483647 h 118"/>
                <a:gd name="T38" fmla="*/ 2147483647 w 190"/>
                <a:gd name="T39" fmla="*/ 2147483647 h 118"/>
                <a:gd name="T40" fmla="*/ 2147483647 w 190"/>
                <a:gd name="T41" fmla="*/ 2147483647 h 118"/>
                <a:gd name="T42" fmla="*/ 2147483647 w 190"/>
                <a:gd name="T43" fmla="*/ 2147483647 h 118"/>
                <a:gd name="T44" fmla="*/ 2147483647 w 190"/>
                <a:gd name="T45" fmla="*/ 2147483647 h 118"/>
                <a:gd name="T46" fmla="*/ 2147483647 w 190"/>
                <a:gd name="T47" fmla="*/ 2147483647 h 118"/>
                <a:gd name="T48" fmla="*/ 2147483647 w 190"/>
                <a:gd name="T49" fmla="*/ 2147483647 h 118"/>
                <a:gd name="T50" fmla="*/ 2147483647 w 190"/>
                <a:gd name="T51" fmla="*/ 2147483647 h 118"/>
                <a:gd name="T52" fmla="*/ 2147483647 w 190"/>
                <a:gd name="T53" fmla="*/ 2147483647 h 118"/>
                <a:gd name="T54" fmla="*/ 2147483647 w 190"/>
                <a:gd name="T55" fmla="*/ 2147483647 h 118"/>
                <a:gd name="T56" fmla="*/ 2147483647 w 190"/>
                <a:gd name="T57" fmla="*/ 2147483647 h 118"/>
                <a:gd name="T58" fmla="*/ 2147483647 w 190"/>
                <a:gd name="T59" fmla="*/ 2147483647 h 118"/>
                <a:gd name="T60" fmla="*/ 2147483647 w 190"/>
                <a:gd name="T61" fmla="*/ 2147483647 h 118"/>
                <a:gd name="T62" fmla="*/ 2147483647 w 190"/>
                <a:gd name="T63" fmla="*/ 2147483647 h 118"/>
                <a:gd name="T64" fmla="*/ 2147483647 w 190"/>
                <a:gd name="T65" fmla="*/ 2147483647 h 118"/>
                <a:gd name="T66" fmla="*/ 2147483647 w 190"/>
                <a:gd name="T67" fmla="*/ 2147483647 h 118"/>
                <a:gd name="T68" fmla="*/ 2147483647 w 190"/>
                <a:gd name="T69" fmla="*/ 2147483647 h 118"/>
                <a:gd name="T70" fmla="*/ 2147483647 w 190"/>
                <a:gd name="T71" fmla="*/ 2147483647 h 118"/>
                <a:gd name="T72" fmla="*/ 2147483647 w 190"/>
                <a:gd name="T73" fmla="*/ 2147483647 h 118"/>
                <a:gd name="T74" fmla="*/ 2147483647 w 190"/>
                <a:gd name="T75" fmla="*/ 2147483647 h 118"/>
                <a:gd name="T76" fmla="*/ 2147483647 w 190"/>
                <a:gd name="T77" fmla="*/ 2147483647 h 118"/>
                <a:gd name="T78" fmla="*/ 2147483647 w 190"/>
                <a:gd name="T79" fmla="*/ 2147483647 h 118"/>
                <a:gd name="T80" fmla="*/ 2147483647 w 190"/>
                <a:gd name="T81" fmla="*/ 2147483647 h 118"/>
                <a:gd name="T82" fmla="*/ 2147483647 w 190"/>
                <a:gd name="T83" fmla="*/ 2147483647 h 118"/>
                <a:gd name="T84" fmla="*/ 2147483647 w 190"/>
                <a:gd name="T85" fmla="*/ 2147483647 h 118"/>
                <a:gd name="T86" fmla="*/ 2147483647 w 190"/>
                <a:gd name="T87" fmla="*/ 2147483647 h 118"/>
                <a:gd name="T88" fmla="*/ 2147483647 w 190"/>
                <a:gd name="T89" fmla="*/ 2147483647 h 118"/>
                <a:gd name="T90" fmla="*/ 2147483647 w 190"/>
                <a:gd name="T91" fmla="*/ 2147483647 h 118"/>
                <a:gd name="T92" fmla="*/ 2147483647 w 190"/>
                <a:gd name="T93" fmla="*/ 2147483647 h 11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90" h="118">
                  <a:moveTo>
                    <a:pt x="190" y="11"/>
                  </a:moveTo>
                  <a:cubicBezTo>
                    <a:pt x="190" y="2"/>
                    <a:pt x="190" y="2"/>
                    <a:pt x="190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33" y="112"/>
                    <a:pt x="33" y="112"/>
                    <a:pt x="33" y="11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150" y="97"/>
                    <a:pt x="150" y="97"/>
                    <a:pt x="150" y="97"/>
                  </a:cubicBezTo>
                  <a:cubicBezTo>
                    <a:pt x="150" y="118"/>
                    <a:pt x="150" y="118"/>
                    <a:pt x="150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2"/>
                    <a:pt x="156" y="112"/>
                    <a:pt x="156" y="112"/>
                  </a:cubicBezTo>
                  <a:cubicBezTo>
                    <a:pt x="161" y="112"/>
                    <a:pt x="161" y="112"/>
                    <a:pt x="161" y="112"/>
                  </a:cubicBezTo>
                  <a:cubicBezTo>
                    <a:pt x="161" y="97"/>
                    <a:pt x="161" y="97"/>
                    <a:pt x="161" y="97"/>
                  </a:cubicBezTo>
                  <a:cubicBezTo>
                    <a:pt x="179" y="97"/>
                    <a:pt x="179" y="97"/>
                    <a:pt x="179" y="97"/>
                  </a:cubicBezTo>
                  <a:cubicBezTo>
                    <a:pt x="179" y="84"/>
                    <a:pt x="179" y="84"/>
                    <a:pt x="179" y="84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45" y="54"/>
                    <a:pt x="145" y="54"/>
                    <a:pt x="145" y="54"/>
                  </a:cubicBezTo>
                  <a:cubicBezTo>
                    <a:pt x="170" y="11"/>
                    <a:pt x="170" y="11"/>
                    <a:pt x="170" y="11"/>
                  </a:cubicBezTo>
                  <a:lnTo>
                    <a:pt x="190" y="11"/>
                  </a:lnTo>
                  <a:close/>
                  <a:moveTo>
                    <a:pt x="150" y="84"/>
                  </a:moveTo>
                  <a:cubicBezTo>
                    <a:pt x="39" y="84"/>
                    <a:pt x="39" y="84"/>
                    <a:pt x="39" y="8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3" y="37"/>
                    <a:pt x="75" y="35"/>
                    <a:pt x="77" y="33"/>
                  </a:cubicBezTo>
                  <a:cubicBezTo>
                    <a:pt x="83" y="31"/>
                    <a:pt x="89" y="30"/>
                    <a:pt x="95" y="30"/>
                  </a:cubicBezTo>
                  <a:cubicBezTo>
                    <a:pt x="101" y="30"/>
                    <a:pt x="107" y="31"/>
                    <a:pt x="113" y="34"/>
                  </a:cubicBezTo>
                  <a:cubicBezTo>
                    <a:pt x="115" y="35"/>
                    <a:pt x="117" y="37"/>
                    <a:pt x="118" y="39"/>
                  </a:cubicBezTo>
                  <a:lnTo>
                    <a:pt x="150" y="84"/>
                  </a:lnTo>
                  <a:close/>
                  <a:moveTo>
                    <a:pt x="95" y="35"/>
                  </a:moveTo>
                  <a:cubicBezTo>
                    <a:pt x="86" y="35"/>
                    <a:pt x="79" y="39"/>
                    <a:pt x="75" y="45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67" y="76"/>
                    <a:pt x="79" y="82"/>
                    <a:pt x="92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110" y="82"/>
                    <a:pt x="122" y="76"/>
                    <a:pt x="130" y="68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0" y="39"/>
                    <a:pt x="103" y="35"/>
                    <a:pt x="9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endParaRPr lang="en-GB" sz="1636" dirty="0"/>
            </a:p>
          </p:txBody>
        </p:sp>
      </p:grpSp>
      <p:grpSp>
        <p:nvGrpSpPr>
          <p:cNvPr id="267" name="Group 138"/>
          <p:cNvGrpSpPr/>
          <p:nvPr/>
        </p:nvGrpSpPr>
        <p:grpSpPr>
          <a:xfrm>
            <a:off x="1348074" y="3589340"/>
            <a:ext cx="187765" cy="187649"/>
            <a:chOff x="5706396" y="5203566"/>
            <a:chExt cx="180000" cy="180000"/>
          </a:xfrm>
        </p:grpSpPr>
        <p:sp>
          <p:nvSpPr>
            <p:cNvPr id="268" name="Oval 384"/>
            <p:cNvSpPr>
              <a:spLocks noChangeAspect="1"/>
            </p:cNvSpPr>
            <p:nvPr/>
          </p:nvSpPr>
          <p:spPr bwMode="auto">
            <a:xfrm>
              <a:off x="5706396" y="5203566"/>
              <a:ext cx="180000" cy="180000"/>
            </a:xfrm>
            <a:prstGeom prst="ellipse">
              <a:avLst/>
            </a:prstGeom>
            <a:solidFill>
              <a:srgbClr val="14446C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grpSp>
          <p:nvGrpSpPr>
            <p:cNvPr id="269" name="Group 11"/>
            <p:cNvGrpSpPr>
              <a:grpSpLocks noChangeAspect="1"/>
            </p:cNvGrpSpPr>
            <p:nvPr/>
          </p:nvGrpSpPr>
          <p:grpSpPr bwMode="auto">
            <a:xfrm>
              <a:off x="5755701" y="5219700"/>
              <a:ext cx="84156" cy="129540"/>
              <a:chOff x="576263" y="7466012"/>
              <a:chExt cx="3898900" cy="6003926"/>
            </a:xfrm>
            <a:solidFill>
              <a:schemeClr val="bg1"/>
            </a:solidFill>
          </p:grpSpPr>
          <p:sp>
            <p:nvSpPr>
              <p:cNvPr id="270" name="Freeform 63"/>
              <p:cNvSpPr>
                <a:spLocks noEditPoints="1"/>
              </p:cNvSpPr>
              <p:nvPr/>
            </p:nvSpPr>
            <p:spPr bwMode="auto">
              <a:xfrm>
                <a:off x="576263" y="8978900"/>
                <a:ext cx="3898900" cy="4491038"/>
              </a:xfrm>
              <a:custGeom>
                <a:avLst/>
                <a:gdLst>
                  <a:gd name="T0" fmla="*/ 2147483647 w 2456"/>
                  <a:gd name="T1" fmla="*/ 2147483647 h 2829"/>
                  <a:gd name="T2" fmla="*/ 2147483647 w 2456"/>
                  <a:gd name="T3" fmla="*/ 2147483647 h 2829"/>
                  <a:gd name="T4" fmla="*/ 2147483647 w 2456"/>
                  <a:gd name="T5" fmla="*/ 2147483647 h 2829"/>
                  <a:gd name="T6" fmla="*/ 2147483647 w 2456"/>
                  <a:gd name="T7" fmla="*/ 2147483647 h 2829"/>
                  <a:gd name="T8" fmla="*/ 2147483647 w 2456"/>
                  <a:gd name="T9" fmla="*/ 2147483647 h 2829"/>
                  <a:gd name="T10" fmla="*/ 2147483647 w 2456"/>
                  <a:gd name="T11" fmla="*/ 2147483647 h 2829"/>
                  <a:gd name="T12" fmla="*/ 2147483647 w 2456"/>
                  <a:gd name="T13" fmla="*/ 2147483647 h 2829"/>
                  <a:gd name="T14" fmla="*/ 2147483647 w 2456"/>
                  <a:gd name="T15" fmla="*/ 2147483647 h 2829"/>
                  <a:gd name="T16" fmla="*/ 0 w 2456"/>
                  <a:gd name="T17" fmla="*/ 2147483647 h 2829"/>
                  <a:gd name="T18" fmla="*/ 2147483647 w 2456"/>
                  <a:gd name="T19" fmla="*/ 2147483647 h 2829"/>
                  <a:gd name="T20" fmla="*/ 2147483647 w 2456"/>
                  <a:gd name="T21" fmla="*/ 2147483647 h 2829"/>
                  <a:gd name="T22" fmla="*/ 2147483647 w 2456"/>
                  <a:gd name="T23" fmla="*/ 2147483647 h 2829"/>
                  <a:gd name="T24" fmla="*/ 2147483647 w 2456"/>
                  <a:gd name="T25" fmla="*/ 2147483647 h 2829"/>
                  <a:gd name="T26" fmla="*/ 2147483647 w 2456"/>
                  <a:gd name="T27" fmla="*/ 2147483647 h 2829"/>
                  <a:gd name="T28" fmla="*/ 2147483647 w 2456"/>
                  <a:gd name="T29" fmla="*/ 2147483647 h 2829"/>
                  <a:gd name="T30" fmla="*/ 2147483647 w 2456"/>
                  <a:gd name="T31" fmla="*/ 2147483647 h 2829"/>
                  <a:gd name="T32" fmla="*/ 2147483647 w 2456"/>
                  <a:gd name="T33" fmla="*/ 2147483647 h 2829"/>
                  <a:gd name="T34" fmla="*/ 2147483647 w 2456"/>
                  <a:gd name="T35" fmla="*/ 2147483647 h 2829"/>
                  <a:gd name="T36" fmla="*/ 2147483647 w 2456"/>
                  <a:gd name="T37" fmla="*/ 2147483647 h 2829"/>
                  <a:gd name="T38" fmla="*/ 2147483647 w 2456"/>
                  <a:gd name="T39" fmla="*/ 2147483647 h 2829"/>
                  <a:gd name="T40" fmla="*/ 2147483647 w 2456"/>
                  <a:gd name="T41" fmla="*/ 2147483647 h 2829"/>
                  <a:gd name="T42" fmla="*/ 2147483647 w 2456"/>
                  <a:gd name="T43" fmla="*/ 2147483647 h 2829"/>
                  <a:gd name="T44" fmla="*/ 2147483647 w 2456"/>
                  <a:gd name="T45" fmla="*/ 2147483647 h 2829"/>
                  <a:gd name="T46" fmla="*/ 2147483647 w 2456"/>
                  <a:gd name="T47" fmla="*/ 2147483647 h 2829"/>
                  <a:gd name="T48" fmla="*/ 2147483647 w 2456"/>
                  <a:gd name="T49" fmla="*/ 2147483647 h 2829"/>
                  <a:gd name="T50" fmla="*/ 2147483647 w 2456"/>
                  <a:gd name="T51" fmla="*/ 2147483647 h 2829"/>
                  <a:gd name="T52" fmla="*/ 2147483647 w 2456"/>
                  <a:gd name="T53" fmla="*/ 2147483647 h 2829"/>
                  <a:gd name="T54" fmla="*/ 2147483647 w 2456"/>
                  <a:gd name="T55" fmla="*/ 2147483647 h 2829"/>
                  <a:gd name="T56" fmla="*/ 2147483647 w 2456"/>
                  <a:gd name="T57" fmla="*/ 2147483647 h 2829"/>
                  <a:gd name="T58" fmla="*/ 2147483647 w 2456"/>
                  <a:gd name="T59" fmla="*/ 2147483647 h 2829"/>
                  <a:gd name="T60" fmla="*/ 2147483647 w 2456"/>
                  <a:gd name="T61" fmla="*/ 2147483647 h 2829"/>
                  <a:gd name="T62" fmla="*/ 2147483647 w 2456"/>
                  <a:gd name="T63" fmla="*/ 2147483647 h 2829"/>
                  <a:gd name="T64" fmla="*/ 2147483647 w 2456"/>
                  <a:gd name="T65" fmla="*/ 2147483647 h 2829"/>
                  <a:gd name="T66" fmla="*/ 2147483647 w 2456"/>
                  <a:gd name="T67" fmla="*/ 2147483647 h 2829"/>
                  <a:gd name="T68" fmla="*/ 2147483647 w 2456"/>
                  <a:gd name="T69" fmla="*/ 2147483647 h 2829"/>
                  <a:gd name="T70" fmla="*/ 2147483647 w 2456"/>
                  <a:gd name="T71" fmla="*/ 2147483647 h 2829"/>
                  <a:gd name="T72" fmla="*/ 2147483647 w 2456"/>
                  <a:gd name="T73" fmla="*/ 2147483647 h 2829"/>
                  <a:gd name="T74" fmla="*/ 2147483647 w 2456"/>
                  <a:gd name="T75" fmla="*/ 2147483647 h 2829"/>
                  <a:gd name="T76" fmla="*/ 2147483647 w 2456"/>
                  <a:gd name="T77" fmla="*/ 2147483647 h 2829"/>
                  <a:gd name="T78" fmla="*/ 2147483647 w 2456"/>
                  <a:gd name="T79" fmla="*/ 2147483647 h 2829"/>
                  <a:gd name="T80" fmla="*/ 2147483647 w 2456"/>
                  <a:gd name="T81" fmla="*/ 2147483647 h 2829"/>
                  <a:gd name="T82" fmla="*/ 2147483647 w 2456"/>
                  <a:gd name="T83" fmla="*/ 2147483647 h 2829"/>
                  <a:gd name="T84" fmla="*/ 2147483647 w 2456"/>
                  <a:gd name="T85" fmla="*/ 2147483647 h 2829"/>
                  <a:gd name="T86" fmla="*/ 2147483647 w 2456"/>
                  <a:gd name="T87" fmla="*/ 2147483647 h 2829"/>
                  <a:gd name="T88" fmla="*/ 2147483647 w 2456"/>
                  <a:gd name="T89" fmla="*/ 2147483647 h 2829"/>
                  <a:gd name="T90" fmla="*/ 2147483647 w 2456"/>
                  <a:gd name="T91" fmla="*/ 2147483647 h 2829"/>
                  <a:gd name="T92" fmla="*/ 2147483647 w 2456"/>
                  <a:gd name="T93" fmla="*/ 2147483647 h 2829"/>
                  <a:gd name="T94" fmla="*/ 2147483647 w 2456"/>
                  <a:gd name="T95" fmla="*/ 2147483647 h 2829"/>
                  <a:gd name="T96" fmla="*/ 2147483647 w 2456"/>
                  <a:gd name="T97" fmla="*/ 2147483647 h 2829"/>
                  <a:gd name="T98" fmla="*/ 2147483647 w 2456"/>
                  <a:gd name="T99" fmla="*/ 2147483647 h 2829"/>
                  <a:gd name="T100" fmla="*/ 2147483647 w 2456"/>
                  <a:gd name="T101" fmla="*/ 2147483647 h 282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456" h="2829">
                    <a:moveTo>
                      <a:pt x="1916" y="1497"/>
                    </a:moveTo>
                    <a:lnTo>
                      <a:pt x="1916" y="1617"/>
                    </a:lnTo>
                    <a:lnTo>
                      <a:pt x="1409" y="1497"/>
                    </a:lnTo>
                    <a:lnTo>
                      <a:pt x="1409" y="1617"/>
                    </a:lnTo>
                    <a:lnTo>
                      <a:pt x="1195" y="1617"/>
                    </a:lnTo>
                    <a:lnTo>
                      <a:pt x="1195" y="1337"/>
                    </a:lnTo>
                    <a:lnTo>
                      <a:pt x="1051" y="1337"/>
                    </a:lnTo>
                    <a:lnTo>
                      <a:pt x="1051" y="1200"/>
                    </a:lnTo>
                    <a:lnTo>
                      <a:pt x="784" y="1200"/>
                    </a:lnTo>
                    <a:lnTo>
                      <a:pt x="784" y="279"/>
                    </a:lnTo>
                    <a:lnTo>
                      <a:pt x="744" y="279"/>
                    </a:lnTo>
                    <a:lnTo>
                      <a:pt x="744" y="193"/>
                    </a:lnTo>
                    <a:lnTo>
                      <a:pt x="770" y="193"/>
                    </a:lnTo>
                    <a:lnTo>
                      <a:pt x="770" y="91"/>
                    </a:lnTo>
                    <a:lnTo>
                      <a:pt x="700" y="91"/>
                    </a:lnTo>
                    <a:lnTo>
                      <a:pt x="700" y="0"/>
                    </a:lnTo>
                    <a:lnTo>
                      <a:pt x="506" y="0"/>
                    </a:lnTo>
                    <a:lnTo>
                      <a:pt x="506" y="91"/>
                    </a:lnTo>
                    <a:lnTo>
                      <a:pt x="436" y="91"/>
                    </a:lnTo>
                    <a:lnTo>
                      <a:pt x="436" y="193"/>
                    </a:lnTo>
                    <a:lnTo>
                      <a:pt x="462" y="193"/>
                    </a:lnTo>
                    <a:lnTo>
                      <a:pt x="462" y="279"/>
                    </a:lnTo>
                    <a:lnTo>
                      <a:pt x="422" y="279"/>
                    </a:lnTo>
                    <a:lnTo>
                      <a:pt x="422" y="1200"/>
                    </a:lnTo>
                    <a:lnTo>
                      <a:pt x="156" y="1200"/>
                    </a:lnTo>
                    <a:lnTo>
                      <a:pt x="156" y="1337"/>
                    </a:lnTo>
                    <a:lnTo>
                      <a:pt x="0" y="1337"/>
                    </a:lnTo>
                    <a:lnTo>
                      <a:pt x="0" y="2829"/>
                    </a:lnTo>
                    <a:lnTo>
                      <a:pt x="2456" y="2829"/>
                    </a:lnTo>
                    <a:lnTo>
                      <a:pt x="2456" y="1617"/>
                    </a:lnTo>
                    <a:lnTo>
                      <a:pt x="1916" y="1497"/>
                    </a:lnTo>
                    <a:close/>
                    <a:moveTo>
                      <a:pt x="204" y="1773"/>
                    </a:moveTo>
                    <a:lnTo>
                      <a:pt x="422" y="1773"/>
                    </a:lnTo>
                    <a:lnTo>
                      <a:pt x="538" y="1773"/>
                    </a:lnTo>
                    <a:lnTo>
                      <a:pt x="538" y="1877"/>
                    </a:lnTo>
                    <a:lnTo>
                      <a:pt x="422" y="1877"/>
                    </a:lnTo>
                    <a:lnTo>
                      <a:pt x="204" y="1877"/>
                    </a:lnTo>
                    <a:lnTo>
                      <a:pt x="204" y="1773"/>
                    </a:lnTo>
                    <a:close/>
                    <a:moveTo>
                      <a:pt x="538" y="1645"/>
                    </a:moveTo>
                    <a:lnTo>
                      <a:pt x="422" y="1645"/>
                    </a:lnTo>
                    <a:lnTo>
                      <a:pt x="204" y="1645"/>
                    </a:lnTo>
                    <a:lnTo>
                      <a:pt x="204" y="1541"/>
                    </a:lnTo>
                    <a:lnTo>
                      <a:pt x="422" y="1541"/>
                    </a:lnTo>
                    <a:lnTo>
                      <a:pt x="538" y="1541"/>
                    </a:lnTo>
                    <a:lnTo>
                      <a:pt x="538" y="1645"/>
                    </a:lnTo>
                    <a:close/>
                    <a:moveTo>
                      <a:pt x="538" y="2575"/>
                    </a:moveTo>
                    <a:lnTo>
                      <a:pt x="204" y="2575"/>
                    </a:lnTo>
                    <a:lnTo>
                      <a:pt x="204" y="2472"/>
                    </a:lnTo>
                    <a:lnTo>
                      <a:pt x="538" y="2472"/>
                    </a:lnTo>
                    <a:lnTo>
                      <a:pt x="538" y="2575"/>
                    </a:lnTo>
                    <a:close/>
                    <a:moveTo>
                      <a:pt x="538" y="2342"/>
                    </a:moveTo>
                    <a:lnTo>
                      <a:pt x="204" y="2342"/>
                    </a:lnTo>
                    <a:lnTo>
                      <a:pt x="204" y="2240"/>
                    </a:lnTo>
                    <a:lnTo>
                      <a:pt x="538" y="2240"/>
                    </a:lnTo>
                    <a:lnTo>
                      <a:pt x="538" y="2342"/>
                    </a:lnTo>
                    <a:close/>
                    <a:moveTo>
                      <a:pt x="538" y="2110"/>
                    </a:moveTo>
                    <a:lnTo>
                      <a:pt x="204" y="2110"/>
                    </a:lnTo>
                    <a:lnTo>
                      <a:pt x="204" y="2008"/>
                    </a:lnTo>
                    <a:lnTo>
                      <a:pt x="422" y="2008"/>
                    </a:lnTo>
                    <a:lnTo>
                      <a:pt x="538" y="2008"/>
                    </a:lnTo>
                    <a:lnTo>
                      <a:pt x="538" y="2082"/>
                    </a:lnTo>
                    <a:lnTo>
                      <a:pt x="538" y="2110"/>
                    </a:lnTo>
                    <a:close/>
                    <a:moveTo>
                      <a:pt x="989" y="2575"/>
                    </a:moveTo>
                    <a:lnTo>
                      <a:pt x="652" y="2575"/>
                    </a:lnTo>
                    <a:lnTo>
                      <a:pt x="652" y="2472"/>
                    </a:lnTo>
                    <a:lnTo>
                      <a:pt x="989" y="2472"/>
                    </a:lnTo>
                    <a:lnTo>
                      <a:pt x="989" y="2575"/>
                    </a:lnTo>
                    <a:close/>
                    <a:moveTo>
                      <a:pt x="989" y="2342"/>
                    </a:moveTo>
                    <a:lnTo>
                      <a:pt x="652" y="2342"/>
                    </a:lnTo>
                    <a:lnTo>
                      <a:pt x="652" y="2240"/>
                    </a:lnTo>
                    <a:lnTo>
                      <a:pt x="989" y="2240"/>
                    </a:lnTo>
                    <a:lnTo>
                      <a:pt x="989" y="2342"/>
                    </a:lnTo>
                    <a:close/>
                    <a:moveTo>
                      <a:pt x="989" y="2110"/>
                    </a:moveTo>
                    <a:lnTo>
                      <a:pt x="652" y="2110"/>
                    </a:lnTo>
                    <a:lnTo>
                      <a:pt x="652" y="2082"/>
                    </a:lnTo>
                    <a:lnTo>
                      <a:pt x="652" y="2008"/>
                    </a:lnTo>
                    <a:lnTo>
                      <a:pt x="784" y="2008"/>
                    </a:lnTo>
                    <a:lnTo>
                      <a:pt x="989" y="2008"/>
                    </a:lnTo>
                    <a:lnTo>
                      <a:pt x="989" y="2110"/>
                    </a:lnTo>
                    <a:close/>
                    <a:moveTo>
                      <a:pt x="989" y="1877"/>
                    </a:moveTo>
                    <a:lnTo>
                      <a:pt x="784" y="1877"/>
                    </a:lnTo>
                    <a:lnTo>
                      <a:pt x="652" y="1877"/>
                    </a:lnTo>
                    <a:lnTo>
                      <a:pt x="652" y="1773"/>
                    </a:lnTo>
                    <a:lnTo>
                      <a:pt x="784" y="1773"/>
                    </a:lnTo>
                    <a:lnTo>
                      <a:pt x="989" y="1773"/>
                    </a:lnTo>
                    <a:lnTo>
                      <a:pt x="989" y="1877"/>
                    </a:lnTo>
                    <a:close/>
                    <a:moveTo>
                      <a:pt x="989" y="1645"/>
                    </a:moveTo>
                    <a:lnTo>
                      <a:pt x="784" y="1645"/>
                    </a:lnTo>
                    <a:lnTo>
                      <a:pt x="652" y="1645"/>
                    </a:lnTo>
                    <a:lnTo>
                      <a:pt x="652" y="1541"/>
                    </a:lnTo>
                    <a:lnTo>
                      <a:pt x="784" y="1541"/>
                    </a:lnTo>
                    <a:lnTo>
                      <a:pt x="989" y="1541"/>
                    </a:lnTo>
                    <a:lnTo>
                      <a:pt x="989" y="1645"/>
                    </a:lnTo>
                    <a:close/>
                    <a:moveTo>
                      <a:pt x="1445" y="2583"/>
                    </a:moveTo>
                    <a:lnTo>
                      <a:pt x="1239" y="2583"/>
                    </a:lnTo>
                    <a:lnTo>
                      <a:pt x="1239" y="2426"/>
                    </a:lnTo>
                    <a:lnTo>
                      <a:pt x="1445" y="2426"/>
                    </a:lnTo>
                    <a:lnTo>
                      <a:pt x="1445" y="2583"/>
                    </a:lnTo>
                    <a:close/>
                    <a:moveTo>
                      <a:pt x="1445" y="2324"/>
                    </a:moveTo>
                    <a:lnTo>
                      <a:pt x="1239" y="2324"/>
                    </a:lnTo>
                    <a:lnTo>
                      <a:pt x="1239" y="2168"/>
                    </a:lnTo>
                    <a:lnTo>
                      <a:pt x="1445" y="2168"/>
                    </a:lnTo>
                    <a:lnTo>
                      <a:pt x="1445" y="2324"/>
                    </a:lnTo>
                    <a:close/>
                    <a:moveTo>
                      <a:pt x="1445" y="2066"/>
                    </a:moveTo>
                    <a:lnTo>
                      <a:pt x="1239" y="2066"/>
                    </a:lnTo>
                    <a:lnTo>
                      <a:pt x="1239" y="1909"/>
                    </a:lnTo>
                    <a:lnTo>
                      <a:pt x="1445" y="1909"/>
                    </a:lnTo>
                    <a:lnTo>
                      <a:pt x="1445" y="2066"/>
                    </a:lnTo>
                    <a:close/>
                    <a:moveTo>
                      <a:pt x="1744" y="2583"/>
                    </a:moveTo>
                    <a:lnTo>
                      <a:pt x="1539" y="2583"/>
                    </a:lnTo>
                    <a:lnTo>
                      <a:pt x="1539" y="2426"/>
                    </a:lnTo>
                    <a:lnTo>
                      <a:pt x="1744" y="2426"/>
                    </a:lnTo>
                    <a:lnTo>
                      <a:pt x="1744" y="2583"/>
                    </a:lnTo>
                    <a:close/>
                    <a:moveTo>
                      <a:pt x="1744" y="2324"/>
                    </a:moveTo>
                    <a:lnTo>
                      <a:pt x="1539" y="2324"/>
                    </a:lnTo>
                    <a:lnTo>
                      <a:pt x="1539" y="2168"/>
                    </a:lnTo>
                    <a:lnTo>
                      <a:pt x="1744" y="2168"/>
                    </a:lnTo>
                    <a:lnTo>
                      <a:pt x="1744" y="2324"/>
                    </a:lnTo>
                    <a:close/>
                    <a:moveTo>
                      <a:pt x="1744" y="2066"/>
                    </a:moveTo>
                    <a:lnTo>
                      <a:pt x="1539" y="2066"/>
                    </a:lnTo>
                    <a:lnTo>
                      <a:pt x="1539" y="1909"/>
                    </a:lnTo>
                    <a:lnTo>
                      <a:pt x="1744" y="1909"/>
                    </a:lnTo>
                    <a:lnTo>
                      <a:pt x="1744" y="2066"/>
                    </a:lnTo>
                    <a:close/>
                    <a:moveTo>
                      <a:pt x="2044" y="2583"/>
                    </a:moveTo>
                    <a:lnTo>
                      <a:pt x="1840" y="2583"/>
                    </a:lnTo>
                    <a:lnTo>
                      <a:pt x="1840" y="2426"/>
                    </a:lnTo>
                    <a:lnTo>
                      <a:pt x="2044" y="2426"/>
                    </a:lnTo>
                    <a:lnTo>
                      <a:pt x="2044" y="2583"/>
                    </a:lnTo>
                    <a:close/>
                    <a:moveTo>
                      <a:pt x="2044" y="2324"/>
                    </a:moveTo>
                    <a:lnTo>
                      <a:pt x="1840" y="2324"/>
                    </a:lnTo>
                    <a:lnTo>
                      <a:pt x="1840" y="2168"/>
                    </a:lnTo>
                    <a:lnTo>
                      <a:pt x="2044" y="2168"/>
                    </a:lnTo>
                    <a:lnTo>
                      <a:pt x="2044" y="2324"/>
                    </a:lnTo>
                    <a:close/>
                    <a:moveTo>
                      <a:pt x="2044" y="2066"/>
                    </a:moveTo>
                    <a:lnTo>
                      <a:pt x="1840" y="2066"/>
                    </a:lnTo>
                    <a:lnTo>
                      <a:pt x="1840" y="1909"/>
                    </a:lnTo>
                    <a:lnTo>
                      <a:pt x="2044" y="1909"/>
                    </a:lnTo>
                    <a:lnTo>
                      <a:pt x="2044" y="2066"/>
                    </a:lnTo>
                    <a:close/>
                    <a:moveTo>
                      <a:pt x="2344" y="2583"/>
                    </a:moveTo>
                    <a:lnTo>
                      <a:pt x="2140" y="2583"/>
                    </a:lnTo>
                    <a:lnTo>
                      <a:pt x="2140" y="2426"/>
                    </a:lnTo>
                    <a:lnTo>
                      <a:pt x="2344" y="2426"/>
                    </a:lnTo>
                    <a:lnTo>
                      <a:pt x="2344" y="2583"/>
                    </a:lnTo>
                    <a:close/>
                    <a:moveTo>
                      <a:pt x="2344" y="2324"/>
                    </a:moveTo>
                    <a:lnTo>
                      <a:pt x="2140" y="2324"/>
                    </a:lnTo>
                    <a:lnTo>
                      <a:pt x="2140" y="2168"/>
                    </a:lnTo>
                    <a:lnTo>
                      <a:pt x="2344" y="2168"/>
                    </a:lnTo>
                    <a:lnTo>
                      <a:pt x="2344" y="2324"/>
                    </a:lnTo>
                    <a:close/>
                    <a:moveTo>
                      <a:pt x="2344" y="2066"/>
                    </a:moveTo>
                    <a:lnTo>
                      <a:pt x="2140" y="2066"/>
                    </a:lnTo>
                    <a:lnTo>
                      <a:pt x="2140" y="1909"/>
                    </a:lnTo>
                    <a:lnTo>
                      <a:pt x="2344" y="1909"/>
                    </a:lnTo>
                    <a:lnTo>
                      <a:pt x="2344" y="2066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A5A6A9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636" dirty="0"/>
              </a:p>
            </p:txBody>
          </p:sp>
          <p:sp>
            <p:nvSpPr>
              <p:cNvPr id="271" name="Freeform 64"/>
              <p:cNvSpPr>
                <a:spLocks/>
              </p:cNvSpPr>
              <p:nvPr/>
            </p:nvSpPr>
            <p:spPr bwMode="auto">
              <a:xfrm>
                <a:off x="1379538" y="7466012"/>
                <a:ext cx="2193925" cy="1344613"/>
              </a:xfrm>
              <a:custGeom>
                <a:avLst/>
                <a:gdLst>
                  <a:gd name="T0" fmla="*/ 2147483647 w 690"/>
                  <a:gd name="T1" fmla="*/ 2147483647 h 423"/>
                  <a:gd name="T2" fmla="*/ 2147483647 w 690"/>
                  <a:gd name="T3" fmla="*/ 2147483647 h 423"/>
                  <a:gd name="T4" fmla="*/ 2147483647 w 690"/>
                  <a:gd name="T5" fmla="*/ 2147483647 h 423"/>
                  <a:gd name="T6" fmla="*/ 2147483647 w 690"/>
                  <a:gd name="T7" fmla="*/ 2147483647 h 423"/>
                  <a:gd name="T8" fmla="*/ 2147483647 w 690"/>
                  <a:gd name="T9" fmla="*/ 2147483647 h 423"/>
                  <a:gd name="T10" fmla="*/ 2147483647 w 690"/>
                  <a:gd name="T11" fmla="*/ 2147483647 h 423"/>
                  <a:gd name="T12" fmla="*/ 2147483647 w 690"/>
                  <a:gd name="T13" fmla="*/ 0 h 423"/>
                  <a:gd name="T14" fmla="*/ 2147483647 w 690"/>
                  <a:gd name="T15" fmla="*/ 2147483647 h 423"/>
                  <a:gd name="T16" fmla="*/ 2147483647 w 690"/>
                  <a:gd name="T17" fmla="*/ 2147483647 h 423"/>
                  <a:gd name="T18" fmla="*/ 2147483647 w 690"/>
                  <a:gd name="T19" fmla="*/ 2147483647 h 423"/>
                  <a:gd name="T20" fmla="*/ 2147483647 w 690"/>
                  <a:gd name="T21" fmla="*/ 2147483647 h 423"/>
                  <a:gd name="T22" fmla="*/ 2147483647 w 690"/>
                  <a:gd name="T23" fmla="*/ 2147483647 h 423"/>
                  <a:gd name="T24" fmla="*/ 0 w 690"/>
                  <a:gd name="T25" fmla="*/ 2147483647 h 423"/>
                  <a:gd name="T26" fmla="*/ 2147483647 w 690"/>
                  <a:gd name="T27" fmla="*/ 2147483647 h 42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90" h="423">
                    <a:moveTo>
                      <a:pt x="117" y="423"/>
                    </a:moveTo>
                    <a:cubicBezTo>
                      <a:pt x="170" y="423"/>
                      <a:pt x="215" y="393"/>
                      <a:pt x="229" y="352"/>
                    </a:cubicBezTo>
                    <a:cubicBezTo>
                      <a:pt x="242" y="355"/>
                      <a:pt x="254" y="357"/>
                      <a:pt x="268" y="357"/>
                    </a:cubicBezTo>
                    <a:cubicBezTo>
                      <a:pt x="317" y="357"/>
                      <a:pt x="361" y="332"/>
                      <a:pt x="387" y="296"/>
                    </a:cubicBezTo>
                    <a:cubicBezTo>
                      <a:pt x="418" y="313"/>
                      <a:pt x="455" y="323"/>
                      <a:pt x="496" y="323"/>
                    </a:cubicBezTo>
                    <a:cubicBezTo>
                      <a:pt x="603" y="323"/>
                      <a:pt x="690" y="251"/>
                      <a:pt x="690" y="162"/>
                    </a:cubicBezTo>
                    <a:cubicBezTo>
                      <a:pt x="690" y="73"/>
                      <a:pt x="603" y="0"/>
                      <a:pt x="496" y="0"/>
                    </a:cubicBezTo>
                    <a:cubicBezTo>
                      <a:pt x="420" y="0"/>
                      <a:pt x="354" y="36"/>
                      <a:pt x="322" y="89"/>
                    </a:cubicBezTo>
                    <a:cubicBezTo>
                      <a:pt x="305" y="82"/>
                      <a:pt x="287" y="78"/>
                      <a:pt x="268" y="78"/>
                    </a:cubicBezTo>
                    <a:cubicBezTo>
                      <a:pt x="188" y="78"/>
                      <a:pt x="123" y="141"/>
                      <a:pt x="123" y="217"/>
                    </a:cubicBezTo>
                    <a:cubicBezTo>
                      <a:pt x="123" y="219"/>
                      <a:pt x="123" y="221"/>
                      <a:pt x="123" y="223"/>
                    </a:cubicBezTo>
                    <a:cubicBezTo>
                      <a:pt x="121" y="223"/>
                      <a:pt x="119" y="223"/>
                      <a:pt x="117" y="223"/>
                    </a:cubicBezTo>
                    <a:cubicBezTo>
                      <a:pt x="53" y="223"/>
                      <a:pt x="0" y="268"/>
                      <a:pt x="0" y="323"/>
                    </a:cubicBezTo>
                    <a:cubicBezTo>
                      <a:pt x="0" y="378"/>
                      <a:pt x="53" y="423"/>
                      <a:pt x="117" y="423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A5A6A9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636" dirty="0"/>
              </a:p>
            </p:txBody>
          </p:sp>
        </p:grpSp>
      </p:grpSp>
      <p:grpSp>
        <p:nvGrpSpPr>
          <p:cNvPr id="272" name="Group 200"/>
          <p:cNvGrpSpPr/>
          <p:nvPr/>
        </p:nvGrpSpPr>
        <p:grpSpPr>
          <a:xfrm>
            <a:off x="1670901" y="2779874"/>
            <a:ext cx="282665" cy="264325"/>
            <a:chOff x="6885610" y="4154374"/>
            <a:chExt cx="180000" cy="180000"/>
          </a:xfrm>
        </p:grpSpPr>
        <p:sp>
          <p:nvSpPr>
            <p:cNvPr id="273" name="Oval 389"/>
            <p:cNvSpPr>
              <a:spLocks noChangeAspect="1"/>
            </p:cNvSpPr>
            <p:nvPr/>
          </p:nvSpPr>
          <p:spPr bwMode="auto">
            <a:xfrm>
              <a:off x="6885610" y="4154374"/>
              <a:ext cx="180000" cy="180000"/>
            </a:xfrm>
            <a:prstGeom prst="ellipse">
              <a:avLst/>
            </a:prstGeom>
            <a:solidFill>
              <a:srgbClr val="F09230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sp>
          <p:nvSpPr>
            <p:cNvPr id="274" name="Freeform 41"/>
            <p:cNvSpPr>
              <a:spLocks noEditPoints="1"/>
            </p:cNvSpPr>
            <p:nvPr/>
          </p:nvSpPr>
          <p:spPr bwMode="auto">
            <a:xfrm>
              <a:off x="6933230" y="4193454"/>
              <a:ext cx="85015" cy="104113"/>
            </a:xfrm>
            <a:custGeom>
              <a:avLst/>
              <a:gdLst>
                <a:gd name="T0" fmla="*/ 2147483647 w 641"/>
                <a:gd name="T1" fmla="*/ 2147483647 h 785"/>
                <a:gd name="T2" fmla="*/ 2147483647 w 641"/>
                <a:gd name="T3" fmla="*/ 2147483647 h 785"/>
                <a:gd name="T4" fmla="*/ 2147483647 w 641"/>
                <a:gd name="T5" fmla="*/ 0 h 785"/>
                <a:gd name="T6" fmla="*/ 2147483647 w 641"/>
                <a:gd name="T7" fmla="*/ 2147483647 h 785"/>
                <a:gd name="T8" fmla="*/ 2147483647 w 641"/>
                <a:gd name="T9" fmla="*/ 2147483647 h 785"/>
                <a:gd name="T10" fmla="*/ 2147483647 w 641"/>
                <a:gd name="T11" fmla="*/ 2147483647 h 785"/>
                <a:gd name="T12" fmla="*/ 2147483647 w 641"/>
                <a:gd name="T13" fmla="*/ 2147483647 h 785"/>
                <a:gd name="T14" fmla="*/ 2147483647 w 641"/>
                <a:gd name="T15" fmla="*/ 2147483647 h 785"/>
                <a:gd name="T16" fmla="*/ 2147483647 w 641"/>
                <a:gd name="T17" fmla="*/ 2147483647 h 785"/>
                <a:gd name="T18" fmla="*/ 2147483647 w 641"/>
                <a:gd name="T19" fmla="*/ 2147483647 h 785"/>
                <a:gd name="T20" fmla="*/ 2147483647 w 641"/>
                <a:gd name="T21" fmla="*/ 2147483647 h 785"/>
                <a:gd name="T22" fmla="*/ 2147483647 w 641"/>
                <a:gd name="T23" fmla="*/ 2147483647 h 785"/>
                <a:gd name="T24" fmla="*/ 2147483647 w 641"/>
                <a:gd name="T25" fmla="*/ 2147483647 h 785"/>
                <a:gd name="T26" fmla="*/ 2147483647 w 641"/>
                <a:gd name="T27" fmla="*/ 2147483647 h 785"/>
                <a:gd name="T28" fmla="*/ 2147483647 w 641"/>
                <a:gd name="T29" fmla="*/ 2147483647 h 785"/>
                <a:gd name="T30" fmla="*/ 2147483647 w 641"/>
                <a:gd name="T31" fmla="*/ 2147483647 h 785"/>
                <a:gd name="T32" fmla="*/ 2147483647 w 641"/>
                <a:gd name="T33" fmla="*/ 2147483647 h 785"/>
                <a:gd name="T34" fmla="*/ 2147483647 w 641"/>
                <a:gd name="T35" fmla="*/ 2147483647 h 785"/>
                <a:gd name="T36" fmla="*/ 2147483647 w 641"/>
                <a:gd name="T37" fmla="*/ 2147483647 h 785"/>
                <a:gd name="T38" fmla="*/ 2147483647 w 641"/>
                <a:gd name="T39" fmla="*/ 2147483647 h 785"/>
                <a:gd name="T40" fmla="*/ 2147483647 w 641"/>
                <a:gd name="T41" fmla="*/ 2147483647 h 785"/>
                <a:gd name="T42" fmla="*/ 2147483647 w 641"/>
                <a:gd name="T43" fmla="*/ 2147483647 h 785"/>
                <a:gd name="T44" fmla="*/ 2147483647 w 641"/>
                <a:gd name="T45" fmla="*/ 2147483647 h 785"/>
                <a:gd name="T46" fmla="*/ 2147483647 w 641"/>
                <a:gd name="T47" fmla="*/ 2147483647 h 785"/>
                <a:gd name="T48" fmla="*/ 0 w 641"/>
                <a:gd name="T49" fmla="*/ 2147483647 h 785"/>
                <a:gd name="T50" fmla="*/ 2147483647 w 641"/>
                <a:gd name="T51" fmla="*/ 2147483647 h 785"/>
                <a:gd name="T52" fmla="*/ 2147483647 w 641"/>
                <a:gd name="T53" fmla="*/ 2147483647 h 785"/>
                <a:gd name="T54" fmla="*/ 2147483647 w 641"/>
                <a:gd name="T55" fmla="*/ 2147483647 h 785"/>
                <a:gd name="T56" fmla="*/ 2147483647 w 641"/>
                <a:gd name="T57" fmla="*/ 2147483647 h 785"/>
                <a:gd name="T58" fmla="*/ 2147483647 w 641"/>
                <a:gd name="T59" fmla="*/ 2147483647 h 785"/>
                <a:gd name="T60" fmla="*/ 2147483647 w 641"/>
                <a:gd name="T61" fmla="*/ 2147483647 h 785"/>
                <a:gd name="T62" fmla="*/ 2147483647 w 641"/>
                <a:gd name="T63" fmla="*/ 2147483647 h 785"/>
                <a:gd name="T64" fmla="*/ 2147483647 w 641"/>
                <a:gd name="T65" fmla="*/ 2147483647 h 785"/>
                <a:gd name="T66" fmla="*/ 2147483647 w 641"/>
                <a:gd name="T67" fmla="*/ 2147483647 h 785"/>
                <a:gd name="T68" fmla="*/ 2147483647 w 641"/>
                <a:gd name="T69" fmla="*/ 2147483647 h 785"/>
                <a:gd name="T70" fmla="*/ 2147483647 w 641"/>
                <a:gd name="T71" fmla="*/ 2147483647 h 785"/>
                <a:gd name="T72" fmla="*/ 2147483647 w 641"/>
                <a:gd name="T73" fmla="*/ 2147483647 h 785"/>
                <a:gd name="T74" fmla="*/ 2147483647 w 641"/>
                <a:gd name="T75" fmla="*/ 2147483647 h 785"/>
                <a:gd name="T76" fmla="*/ 2147483647 w 641"/>
                <a:gd name="T77" fmla="*/ 2147483647 h 785"/>
                <a:gd name="T78" fmla="*/ 2147483647 w 641"/>
                <a:gd name="T79" fmla="*/ 2147483647 h 785"/>
                <a:gd name="T80" fmla="*/ 2147483647 w 641"/>
                <a:gd name="T81" fmla="*/ 2147483647 h 785"/>
                <a:gd name="T82" fmla="*/ 2147483647 w 641"/>
                <a:gd name="T83" fmla="*/ 2147483647 h 785"/>
                <a:gd name="T84" fmla="*/ 2147483647 w 641"/>
                <a:gd name="T85" fmla="*/ 2147483647 h 785"/>
                <a:gd name="T86" fmla="*/ 2147483647 w 641"/>
                <a:gd name="T87" fmla="*/ 2147483647 h 785"/>
                <a:gd name="T88" fmla="*/ 2147483647 w 641"/>
                <a:gd name="T89" fmla="*/ 2147483647 h 785"/>
                <a:gd name="T90" fmla="*/ 2147483647 w 641"/>
                <a:gd name="T91" fmla="*/ 2147483647 h 785"/>
                <a:gd name="T92" fmla="*/ 2147483647 w 641"/>
                <a:gd name="T93" fmla="*/ 2147483647 h 785"/>
                <a:gd name="T94" fmla="*/ 2147483647 w 641"/>
                <a:gd name="T95" fmla="*/ 2147483647 h 785"/>
                <a:gd name="T96" fmla="*/ 2147483647 w 641"/>
                <a:gd name="T97" fmla="*/ 2147483647 h 785"/>
                <a:gd name="T98" fmla="*/ 2147483647 w 641"/>
                <a:gd name="T99" fmla="*/ 2147483647 h 785"/>
                <a:gd name="T100" fmla="*/ 2147483647 w 641"/>
                <a:gd name="T101" fmla="*/ 2147483647 h 785"/>
                <a:gd name="T102" fmla="*/ 2147483647 w 641"/>
                <a:gd name="T103" fmla="*/ 2147483647 h 785"/>
                <a:gd name="T104" fmla="*/ 2147483647 w 641"/>
                <a:gd name="T105" fmla="*/ 2147483647 h 7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41" h="785">
                  <a:moveTo>
                    <a:pt x="616" y="724"/>
                  </a:moveTo>
                  <a:lnTo>
                    <a:pt x="616" y="448"/>
                  </a:lnTo>
                  <a:lnTo>
                    <a:pt x="561" y="448"/>
                  </a:lnTo>
                  <a:lnTo>
                    <a:pt x="561" y="404"/>
                  </a:lnTo>
                  <a:lnTo>
                    <a:pt x="523" y="404"/>
                  </a:lnTo>
                  <a:lnTo>
                    <a:pt x="507" y="0"/>
                  </a:lnTo>
                  <a:lnTo>
                    <a:pt x="452" y="0"/>
                  </a:lnTo>
                  <a:lnTo>
                    <a:pt x="436" y="404"/>
                  </a:lnTo>
                  <a:lnTo>
                    <a:pt x="394" y="404"/>
                  </a:lnTo>
                  <a:lnTo>
                    <a:pt x="394" y="448"/>
                  </a:lnTo>
                  <a:lnTo>
                    <a:pt x="339" y="448"/>
                  </a:lnTo>
                  <a:lnTo>
                    <a:pt x="339" y="724"/>
                  </a:lnTo>
                  <a:lnTo>
                    <a:pt x="300" y="724"/>
                  </a:lnTo>
                  <a:lnTo>
                    <a:pt x="300" y="684"/>
                  </a:lnTo>
                  <a:lnTo>
                    <a:pt x="282" y="684"/>
                  </a:lnTo>
                  <a:lnTo>
                    <a:pt x="276" y="684"/>
                  </a:lnTo>
                  <a:lnTo>
                    <a:pt x="276" y="429"/>
                  </a:lnTo>
                  <a:lnTo>
                    <a:pt x="266" y="418"/>
                  </a:lnTo>
                  <a:lnTo>
                    <a:pt x="256" y="407"/>
                  </a:lnTo>
                  <a:lnTo>
                    <a:pt x="242" y="394"/>
                  </a:lnTo>
                  <a:lnTo>
                    <a:pt x="225" y="382"/>
                  </a:lnTo>
                  <a:lnTo>
                    <a:pt x="215" y="376"/>
                  </a:lnTo>
                  <a:lnTo>
                    <a:pt x="205" y="370"/>
                  </a:lnTo>
                  <a:lnTo>
                    <a:pt x="196" y="366"/>
                  </a:lnTo>
                  <a:lnTo>
                    <a:pt x="185" y="362"/>
                  </a:lnTo>
                  <a:lnTo>
                    <a:pt x="173" y="358"/>
                  </a:lnTo>
                  <a:lnTo>
                    <a:pt x="162" y="357"/>
                  </a:lnTo>
                  <a:lnTo>
                    <a:pt x="162" y="352"/>
                  </a:lnTo>
                  <a:lnTo>
                    <a:pt x="144" y="352"/>
                  </a:lnTo>
                  <a:lnTo>
                    <a:pt x="144" y="358"/>
                  </a:lnTo>
                  <a:lnTo>
                    <a:pt x="133" y="359"/>
                  </a:lnTo>
                  <a:lnTo>
                    <a:pt x="122" y="363"/>
                  </a:lnTo>
                  <a:lnTo>
                    <a:pt x="112" y="367"/>
                  </a:lnTo>
                  <a:lnTo>
                    <a:pt x="102" y="372"/>
                  </a:lnTo>
                  <a:lnTo>
                    <a:pt x="92" y="378"/>
                  </a:lnTo>
                  <a:lnTo>
                    <a:pt x="84" y="383"/>
                  </a:lnTo>
                  <a:lnTo>
                    <a:pt x="67" y="396"/>
                  </a:lnTo>
                  <a:lnTo>
                    <a:pt x="54" y="408"/>
                  </a:lnTo>
                  <a:lnTo>
                    <a:pt x="45" y="419"/>
                  </a:lnTo>
                  <a:lnTo>
                    <a:pt x="36" y="429"/>
                  </a:lnTo>
                  <a:lnTo>
                    <a:pt x="36" y="684"/>
                  </a:lnTo>
                  <a:lnTo>
                    <a:pt x="18" y="684"/>
                  </a:lnTo>
                  <a:lnTo>
                    <a:pt x="16" y="684"/>
                  </a:lnTo>
                  <a:lnTo>
                    <a:pt x="16" y="724"/>
                  </a:lnTo>
                  <a:lnTo>
                    <a:pt x="0" y="724"/>
                  </a:lnTo>
                  <a:lnTo>
                    <a:pt x="0" y="785"/>
                  </a:lnTo>
                  <a:lnTo>
                    <a:pt x="641" y="785"/>
                  </a:lnTo>
                  <a:lnTo>
                    <a:pt x="641" y="724"/>
                  </a:lnTo>
                  <a:lnTo>
                    <a:pt x="616" y="724"/>
                  </a:lnTo>
                  <a:close/>
                  <a:moveTo>
                    <a:pt x="481" y="497"/>
                  </a:moveTo>
                  <a:lnTo>
                    <a:pt x="573" y="497"/>
                  </a:lnTo>
                  <a:lnTo>
                    <a:pt x="573" y="532"/>
                  </a:lnTo>
                  <a:lnTo>
                    <a:pt x="481" y="532"/>
                  </a:lnTo>
                  <a:lnTo>
                    <a:pt x="481" y="497"/>
                  </a:lnTo>
                  <a:close/>
                  <a:moveTo>
                    <a:pt x="481" y="545"/>
                  </a:moveTo>
                  <a:lnTo>
                    <a:pt x="573" y="545"/>
                  </a:lnTo>
                  <a:lnTo>
                    <a:pt x="573" y="594"/>
                  </a:lnTo>
                  <a:lnTo>
                    <a:pt x="481" y="594"/>
                  </a:lnTo>
                  <a:lnTo>
                    <a:pt x="481" y="545"/>
                  </a:lnTo>
                  <a:close/>
                  <a:moveTo>
                    <a:pt x="481" y="606"/>
                  </a:moveTo>
                  <a:lnTo>
                    <a:pt x="573" y="606"/>
                  </a:lnTo>
                  <a:lnTo>
                    <a:pt x="573" y="655"/>
                  </a:lnTo>
                  <a:lnTo>
                    <a:pt x="481" y="655"/>
                  </a:lnTo>
                  <a:lnTo>
                    <a:pt x="481" y="606"/>
                  </a:lnTo>
                  <a:close/>
                  <a:moveTo>
                    <a:pt x="481" y="668"/>
                  </a:moveTo>
                  <a:lnTo>
                    <a:pt x="573" y="668"/>
                  </a:lnTo>
                  <a:lnTo>
                    <a:pt x="573" y="701"/>
                  </a:lnTo>
                  <a:lnTo>
                    <a:pt x="481" y="701"/>
                  </a:lnTo>
                  <a:lnTo>
                    <a:pt x="481" y="668"/>
                  </a:lnTo>
                  <a:close/>
                  <a:moveTo>
                    <a:pt x="377" y="497"/>
                  </a:moveTo>
                  <a:lnTo>
                    <a:pt x="468" y="497"/>
                  </a:lnTo>
                  <a:lnTo>
                    <a:pt x="468" y="532"/>
                  </a:lnTo>
                  <a:lnTo>
                    <a:pt x="377" y="532"/>
                  </a:lnTo>
                  <a:lnTo>
                    <a:pt x="377" y="497"/>
                  </a:lnTo>
                  <a:close/>
                  <a:moveTo>
                    <a:pt x="377" y="545"/>
                  </a:moveTo>
                  <a:lnTo>
                    <a:pt x="468" y="545"/>
                  </a:lnTo>
                  <a:lnTo>
                    <a:pt x="468" y="594"/>
                  </a:lnTo>
                  <a:lnTo>
                    <a:pt x="377" y="594"/>
                  </a:lnTo>
                  <a:lnTo>
                    <a:pt x="377" y="545"/>
                  </a:lnTo>
                  <a:close/>
                  <a:moveTo>
                    <a:pt x="377" y="606"/>
                  </a:moveTo>
                  <a:lnTo>
                    <a:pt x="468" y="606"/>
                  </a:lnTo>
                  <a:lnTo>
                    <a:pt x="468" y="655"/>
                  </a:lnTo>
                  <a:lnTo>
                    <a:pt x="377" y="655"/>
                  </a:lnTo>
                  <a:lnTo>
                    <a:pt x="377" y="606"/>
                  </a:lnTo>
                  <a:close/>
                  <a:moveTo>
                    <a:pt x="377" y="668"/>
                  </a:moveTo>
                  <a:lnTo>
                    <a:pt x="468" y="668"/>
                  </a:lnTo>
                  <a:lnTo>
                    <a:pt x="468" y="701"/>
                  </a:lnTo>
                  <a:lnTo>
                    <a:pt x="377" y="701"/>
                  </a:lnTo>
                  <a:lnTo>
                    <a:pt x="377" y="668"/>
                  </a:lnTo>
                  <a:close/>
                  <a:moveTo>
                    <a:pt x="58" y="436"/>
                  </a:moveTo>
                  <a:lnTo>
                    <a:pt x="58" y="436"/>
                  </a:lnTo>
                  <a:lnTo>
                    <a:pt x="59" y="433"/>
                  </a:lnTo>
                  <a:lnTo>
                    <a:pt x="60" y="431"/>
                  </a:lnTo>
                  <a:lnTo>
                    <a:pt x="62" y="430"/>
                  </a:lnTo>
                  <a:lnTo>
                    <a:pt x="64" y="429"/>
                  </a:lnTo>
                  <a:lnTo>
                    <a:pt x="67" y="430"/>
                  </a:lnTo>
                  <a:lnTo>
                    <a:pt x="70" y="431"/>
                  </a:lnTo>
                  <a:lnTo>
                    <a:pt x="71" y="433"/>
                  </a:lnTo>
                  <a:lnTo>
                    <a:pt x="71" y="436"/>
                  </a:lnTo>
                  <a:lnTo>
                    <a:pt x="71" y="684"/>
                  </a:lnTo>
                  <a:lnTo>
                    <a:pt x="58" y="684"/>
                  </a:lnTo>
                  <a:lnTo>
                    <a:pt x="58" y="4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endParaRPr lang="en-GB" sz="1636" dirty="0"/>
            </a:p>
          </p:txBody>
        </p:sp>
      </p:grpSp>
      <p:grpSp>
        <p:nvGrpSpPr>
          <p:cNvPr id="275" name="Group 138"/>
          <p:cNvGrpSpPr/>
          <p:nvPr/>
        </p:nvGrpSpPr>
        <p:grpSpPr>
          <a:xfrm>
            <a:off x="1813270" y="2940641"/>
            <a:ext cx="282665" cy="264325"/>
            <a:chOff x="5706396" y="5203566"/>
            <a:chExt cx="180000" cy="180000"/>
          </a:xfrm>
        </p:grpSpPr>
        <p:sp>
          <p:nvSpPr>
            <p:cNvPr id="276" name="Oval 392"/>
            <p:cNvSpPr>
              <a:spLocks noChangeAspect="1"/>
            </p:cNvSpPr>
            <p:nvPr/>
          </p:nvSpPr>
          <p:spPr bwMode="auto">
            <a:xfrm>
              <a:off x="5706396" y="5203566"/>
              <a:ext cx="180000" cy="180000"/>
            </a:xfrm>
            <a:prstGeom prst="ellipse">
              <a:avLst/>
            </a:prstGeom>
            <a:solidFill>
              <a:srgbClr val="14446C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grpSp>
          <p:nvGrpSpPr>
            <p:cNvPr id="277" name="Group 11"/>
            <p:cNvGrpSpPr>
              <a:grpSpLocks noChangeAspect="1"/>
            </p:cNvGrpSpPr>
            <p:nvPr/>
          </p:nvGrpSpPr>
          <p:grpSpPr bwMode="auto">
            <a:xfrm>
              <a:off x="5755701" y="5219700"/>
              <a:ext cx="84156" cy="129540"/>
              <a:chOff x="576263" y="7466012"/>
              <a:chExt cx="3898900" cy="6003926"/>
            </a:xfrm>
            <a:solidFill>
              <a:schemeClr val="bg1"/>
            </a:solidFill>
          </p:grpSpPr>
          <p:sp>
            <p:nvSpPr>
              <p:cNvPr id="278" name="Freeform 63"/>
              <p:cNvSpPr>
                <a:spLocks noEditPoints="1"/>
              </p:cNvSpPr>
              <p:nvPr/>
            </p:nvSpPr>
            <p:spPr bwMode="auto">
              <a:xfrm>
                <a:off x="576263" y="8978900"/>
                <a:ext cx="3898900" cy="4491038"/>
              </a:xfrm>
              <a:custGeom>
                <a:avLst/>
                <a:gdLst>
                  <a:gd name="T0" fmla="*/ 2147483647 w 2456"/>
                  <a:gd name="T1" fmla="*/ 2147483647 h 2829"/>
                  <a:gd name="T2" fmla="*/ 2147483647 w 2456"/>
                  <a:gd name="T3" fmla="*/ 2147483647 h 2829"/>
                  <a:gd name="T4" fmla="*/ 2147483647 w 2456"/>
                  <a:gd name="T5" fmla="*/ 2147483647 h 2829"/>
                  <a:gd name="T6" fmla="*/ 2147483647 w 2456"/>
                  <a:gd name="T7" fmla="*/ 2147483647 h 2829"/>
                  <a:gd name="T8" fmla="*/ 2147483647 w 2456"/>
                  <a:gd name="T9" fmla="*/ 2147483647 h 2829"/>
                  <a:gd name="T10" fmla="*/ 2147483647 w 2456"/>
                  <a:gd name="T11" fmla="*/ 2147483647 h 2829"/>
                  <a:gd name="T12" fmla="*/ 2147483647 w 2456"/>
                  <a:gd name="T13" fmla="*/ 2147483647 h 2829"/>
                  <a:gd name="T14" fmla="*/ 2147483647 w 2456"/>
                  <a:gd name="T15" fmla="*/ 2147483647 h 2829"/>
                  <a:gd name="T16" fmla="*/ 0 w 2456"/>
                  <a:gd name="T17" fmla="*/ 2147483647 h 2829"/>
                  <a:gd name="T18" fmla="*/ 2147483647 w 2456"/>
                  <a:gd name="T19" fmla="*/ 2147483647 h 2829"/>
                  <a:gd name="T20" fmla="*/ 2147483647 w 2456"/>
                  <a:gd name="T21" fmla="*/ 2147483647 h 2829"/>
                  <a:gd name="T22" fmla="*/ 2147483647 w 2456"/>
                  <a:gd name="T23" fmla="*/ 2147483647 h 2829"/>
                  <a:gd name="T24" fmla="*/ 2147483647 w 2456"/>
                  <a:gd name="T25" fmla="*/ 2147483647 h 2829"/>
                  <a:gd name="T26" fmla="*/ 2147483647 w 2456"/>
                  <a:gd name="T27" fmla="*/ 2147483647 h 2829"/>
                  <a:gd name="T28" fmla="*/ 2147483647 w 2456"/>
                  <a:gd name="T29" fmla="*/ 2147483647 h 2829"/>
                  <a:gd name="T30" fmla="*/ 2147483647 w 2456"/>
                  <a:gd name="T31" fmla="*/ 2147483647 h 2829"/>
                  <a:gd name="T32" fmla="*/ 2147483647 w 2456"/>
                  <a:gd name="T33" fmla="*/ 2147483647 h 2829"/>
                  <a:gd name="T34" fmla="*/ 2147483647 w 2456"/>
                  <a:gd name="T35" fmla="*/ 2147483647 h 2829"/>
                  <a:gd name="T36" fmla="*/ 2147483647 w 2456"/>
                  <a:gd name="T37" fmla="*/ 2147483647 h 2829"/>
                  <a:gd name="T38" fmla="*/ 2147483647 w 2456"/>
                  <a:gd name="T39" fmla="*/ 2147483647 h 2829"/>
                  <a:gd name="T40" fmla="*/ 2147483647 w 2456"/>
                  <a:gd name="T41" fmla="*/ 2147483647 h 2829"/>
                  <a:gd name="T42" fmla="*/ 2147483647 w 2456"/>
                  <a:gd name="T43" fmla="*/ 2147483647 h 2829"/>
                  <a:gd name="T44" fmla="*/ 2147483647 w 2456"/>
                  <a:gd name="T45" fmla="*/ 2147483647 h 2829"/>
                  <a:gd name="T46" fmla="*/ 2147483647 w 2456"/>
                  <a:gd name="T47" fmla="*/ 2147483647 h 2829"/>
                  <a:gd name="T48" fmla="*/ 2147483647 w 2456"/>
                  <a:gd name="T49" fmla="*/ 2147483647 h 2829"/>
                  <a:gd name="T50" fmla="*/ 2147483647 w 2456"/>
                  <a:gd name="T51" fmla="*/ 2147483647 h 2829"/>
                  <a:gd name="T52" fmla="*/ 2147483647 w 2456"/>
                  <a:gd name="T53" fmla="*/ 2147483647 h 2829"/>
                  <a:gd name="T54" fmla="*/ 2147483647 w 2456"/>
                  <a:gd name="T55" fmla="*/ 2147483647 h 2829"/>
                  <a:gd name="T56" fmla="*/ 2147483647 w 2456"/>
                  <a:gd name="T57" fmla="*/ 2147483647 h 2829"/>
                  <a:gd name="T58" fmla="*/ 2147483647 w 2456"/>
                  <a:gd name="T59" fmla="*/ 2147483647 h 2829"/>
                  <a:gd name="T60" fmla="*/ 2147483647 w 2456"/>
                  <a:gd name="T61" fmla="*/ 2147483647 h 2829"/>
                  <a:gd name="T62" fmla="*/ 2147483647 w 2456"/>
                  <a:gd name="T63" fmla="*/ 2147483647 h 2829"/>
                  <a:gd name="T64" fmla="*/ 2147483647 w 2456"/>
                  <a:gd name="T65" fmla="*/ 2147483647 h 2829"/>
                  <a:gd name="T66" fmla="*/ 2147483647 w 2456"/>
                  <a:gd name="T67" fmla="*/ 2147483647 h 2829"/>
                  <a:gd name="T68" fmla="*/ 2147483647 w 2456"/>
                  <a:gd name="T69" fmla="*/ 2147483647 h 2829"/>
                  <a:gd name="T70" fmla="*/ 2147483647 w 2456"/>
                  <a:gd name="T71" fmla="*/ 2147483647 h 2829"/>
                  <a:gd name="T72" fmla="*/ 2147483647 w 2456"/>
                  <a:gd name="T73" fmla="*/ 2147483647 h 2829"/>
                  <a:gd name="T74" fmla="*/ 2147483647 w 2456"/>
                  <a:gd name="T75" fmla="*/ 2147483647 h 2829"/>
                  <a:gd name="T76" fmla="*/ 2147483647 w 2456"/>
                  <a:gd name="T77" fmla="*/ 2147483647 h 2829"/>
                  <a:gd name="T78" fmla="*/ 2147483647 w 2456"/>
                  <a:gd name="T79" fmla="*/ 2147483647 h 2829"/>
                  <a:gd name="T80" fmla="*/ 2147483647 w 2456"/>
                  <a:gd name="T81" fmla="*/ 2147483647 h 2829"/>
                  <a:gd name="T82" fmla="*/ 2147483647 w 2456"/>
                  <a:gd name="T83" fmla="*/ 2147483647 h 2829"/>
                  <a:gd name="T84" fmla="*/ 2147483647 w 2456"/>
                  <a:gd name="T85" fmla="*/ 2147483647 h 2829"/>
                  <a:gd name="T86" fmla="*/ 2147483647 w 2456"/>
                  <a:gd name="T87" fmla="*/ 2147483647 h 2829"/>
                  <a:gd name="T88" fmla="*/ 2147483647 w 2456"/>
                  <a:gd name="T89" fmla="*/ 2147483647 h 2829"/>
                  <a:gd name="T90" fmla="*/ 2147483647 w 2456"/>
                  <a:gd name="T91" fmla="*/ 2147483647 h 2829"/>
                  <a:gd name="T92" fmla="*/ 2147483647 w 2456"/>
                  <a:gd name="T93" fmla="*/ 2147483647 h 2829"/>
                  <a:gd name="T94" fmla="*/ 2147483647 w 2456"/>
                  <a:gd name="T95" fmla="*/ 2147483647 h 2829"/>
                  <a:gd name="T96" fmla="*/ 2147483647 w 2456"/>
                  <a:gd name="T97" fmla="*/ 2147483647 h 2829"/>
                  <a:gd name="T98" fmla="*/ 2147483647 w 2456"/>
                  <a:gd name="T99" fmla="*/ 2147483647 h 2829"/>
                  <a:gd name="T100" fmla="*/ 2147483647 w 2456"/>
                  <a:gd name="T101" fmla="*/ 2147483647 h 282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456" h="2829">
                    <a:moveTo>
                      <a:pt x="1916" y="1497"/>
                    </a:moveTo>
                    <a:lnTo>
                      <a:pt x="1916" y="1617"/>
                    </a:lnTo>
                    <a:lnTo>
                      <a:pt x="1409" y="1497"/>
                    </a:lnTo>
                    <a:lnTo>
                      <a:pt x="1409" y="1617"/>
                    </a:lnTo>
                    <a:lnTo>
                      <a:pt x="1195" y="1617"/>
                    </a:lnTo>
                    <a:lnTo>
                      <a:pt x="1195" y="1337"/>
                    </a:lnTo>
                    <a:lnTo>
                      <a:pt x="1051" y="1337"/>
                    </a:lnTo>
                    <a:lnTo>
                      <a:pt x="1051" y="1200"/>
                    </a:lnTo>
                    <a:lnTo>
                      <a:pt x="784" y="1200"/>
                    </a:lnTo>
                    <a:lnTo>
                      <a:pt x="784" y="279"/>
                    </a:lnTo>
                    <a:lnTo>
                      <a:pt x="744" y="279"/>
                    </a:lnTo>
                    <a:lnTo>
                      <a:pt x="744" y="193"/>
                    </a:lnTo>
                    <a:lnTo>
                      <a:pt x="770" y="193"/>
                    </a:lnTo>
                    <a:lnTo>
                      <a:pt x="770" y="91"/>
                    </a:lnTo>
                    <a:lnTo>
                      <a:pt x="700" y="91"/>
                    </a:lnTo>
                    <a:lnTo>
                      <a:pt x="700" y="0"/>
                    </a:lnTo>
                    <a:lnTo>
                      <a:pt x="506" y="0"/>
                    </a:lnTo>
                    <a:lnTo>
                      <a:pt x="506" y="91"/>
                    </a:lnTo>
                    <a:lnTo>
                      <a:pt x="436" y="91"/>
                    </a:lnTo>
                    <a:lnTo>
                      <a:pt x="436" y="193"/>
                    </a:lnTo>
                    <a:lnTo>
                      <a:pt x="462" y="193"/>
                    </a:lnTo>
                    <a:lnTo>
                      <a:pt x="462" y="279"/>
                    </a:lnTo>
                    <a:lnTo>
                      <a:pt x="422" y="279"/>
                    </a:lnTo>
                    <a:lnTo>
                      <a:pt x="422" y="1200"/>
                    </a:lnTo>
                    <a:lnTo>
                      <a:pt x="156" y="1200"/>
                    </a:lnTo>
                    <a:lnTo>
                      <a:pt x="156" y="1337"/>
                    </a:lnTo>
                    <a:lnTo>
                      <a:pt x="0" y="1337"/>
                    </a:lnTo>
                    <a:lnTo>
                      <a:pt x="0" y="2829"/>
                    </a:lnTo>
                    <a:lnTo>
                      <a:pt x="2456" y="2829"/>
                    </a:lnTo>
                    <a:lnTo>
                      <a:pt x="2456" y="1617"/>
                    </a:lnTo>
                    <a:lnTo>
                      <a:pt x="1916" y="1497"/>
                    </a:lnTo>
                    <a:close/>
                    <a:moveTo>
                      <a:pt x="204" y="1773"/>
                    </a:moveTo>
                    <a:lnTo>
                      <a:pt x="422" y="1773"/>
                    </a:lnTo>
                    <a:lnTo>
                      <a:pt x="538" y="1773"/>
                    </a:lnTo>
                    <a:lnTo>
                      <a:pt x="538" y="1877"/>
                    </a:lnTo>
                    <a:lnTo>
                      <a:pt x="422" y="1877"/>
                    </a:lnTo>
                    <a:lnTo>
                      <a:pt x="204" y="1877"/>
                    </a:lnTo>
                    <a:lnTo>
                      <a:pt x="204" y="1773"/>
                    </a:lnTo>
                    <a:close/>
                    <a:moveTo>
                      <a:pt x="538" y="1645"/>
                    </a:moveTo>
                    <a:lnTo>
                      <a:pt x="422" y="1645"/>
                    </a:lnTo>
                    <a:lnTo>
                      <a:pt x="204" y="1645"/>
                    </a:lnTo>
                    <a:lnTo>
                      <a:pt x="204" y="1541"/>
                    </a:lnTo>
                    <a:lnTo>
                      <a:pt x="422" y="1541"/>
                    </a:lnTo>
                    <a:lnTo>
                      <a:pt x="538" y="1541"/>
                    </a:lnTo>
                    <a:lnTo>
                      <a:pt x="538" y="1645"/>
                    </a:lnTo>
                    <a:close/>
                    <a:moveTo>
                      <a:pt x="538" y="2575"/>
                    </a:moveTo>
                    <a:lnTo>
                      <a:pt x="204" y="2575"/>
                    </a:lnTo>
                    <a:lnTo>
                      <a:pt x="204" y="2472"/>
                    </a:lnTo>
                    <a:lnTo>
                      <a:pt x="538" y="2472"/>
                    </a:lnTo>
                    <a:lnTo>
                      <a:pt x="538" y="2575"/>
                    </a:lnTo>
                    <a:close/>
                    <a:moveTo>
                      <a:pt x="538" y="2342"/>
                    </a:moveTo>
                    <a:lnTo>
                      <a:pt x="204" y="2342"/>
                    </a:lnTo>
                    <a:lnTo>
                      <a:pt x="204" y="2240"/>
                    </a:lnTo>
                    <a:lnTo>
                      <a:pt x="538" y="2240"/>
                    </a:lnTo>
                    <a:lnTo>
                      <a:pt x="538" y="2342"/>
                    </a:lnTo>
                    <a:close/>
                    <a:moveTo>
                      <a:pt x="538" y="2110"/>
                    </a:moveTo>
                    <a:lnTo>
                      <a:pt x="204" y="2110"/>
                    </a:lnTo>
                    <a:lnTo>
                      <a:pt x="204" y="2008"/>
                    </a:lnTo>
                    <a:lnTo>
                      <a:pt x="422" y="2008"/>
                    </a:lnTo>
                    <a:lnTo>
                      <a:pt x="538" y="2008"/>
                    </a:lnTo>
                    <a:lnTo>
                      <a:pt x="538" y="2082"/>
                    </a:lnTo>
                    <a:lnTo>
                      <a:pt x="538" y="2110"/>
                    </a:lnTo>
                    <a:close/>
                    <a:moveTo>
                      <a:pt x="989" y="2575"/>
                    </a:moveTo>
                    <a:lnTo>
                      <a:pt x="652" y="2575"/>
                    </a:lnTo>
                    <a:lnTo>
                      <a:pt x="652" y="2472"/>
                    </a:lnTo>
                    <a:lnTo>
                      <a:pt x="989" y="2472"/>
                    </a:lnTo>
                    <a:lnTo>
                      <a:pt x="989" y="2575"/>
                    </a:lnTo>
                    <a:close/>
                    <a:moveTo>
                      <a:pt x="989" y="2342"/>
                    </a:moveTo>
                    <a:lnTo>
                      <a:pt x="652" y="2342"/>
                    </a:lnTo>
                    <a:lnTo>
                      <a:pt x="652" y="2240"/>
                    </a:lnTo>
                    <a:lnTo>
                      <a:pt x="989" y="2240"/>
                    </a:lnTo>
                    <a:lnTo>
                      <a:pt x="989" y="2342"/>
                    </a:lnTo>
                    <a:close/>
                    <a:moveTo>
                      <a:pt x="989" y="2110"/>
                    </a:moveTo>
                    <a:lnTo>
                      <a:pt x="652" y="2110"/>
                    </a:lnTo>
                    <a:lnTo>
                      <a:pt x="652" y="2082"/>
                    </a:lnTo>
                    <a:lnTo>
                      <a:pt x="652" y="2008"/>
                    </a:lnTo>
                    <a:lnTo>
                      <a:pt x="784" y="2008"/>
                    </a:lnTo>
                    <a:lnTo>
                      <a:pt x="989" y="2008"/>
                    </a:lnTo>
                    <a:lnTo>
                      <a:pt x="989" y="2110"/>
                    </a:lnTo>
                    <a:close/>
                    <a:moveTo>
                      <a:pt x="989" y="1877"/>
                    </a:moveTo>
                    <a:lnTo>
                      <a:pt x="784" y="1877"/>
                    </a:lnTo>
                    <a:lnTo>
                      <a:pt x="652" y="1877"/>
                    </a:lnTo>
                    <a:lnTo>
                      <a:pt x="652" y="1773"/>
                    </a:lnTo>
                    <a:lnTo>
                      <a:pt x="784" y="1773"/>
                    </a:lnTo>
                    <a:lnTo>
                      <a:pt x="989" y="1773"/>
                    </a:lnTo>
                    <a:lnTo>
                      <a:pt x="989" y="1877"/>
                    </a:lnTo>
                    <a:close/>
                    <a:moveTo>
                      <a:pt x="989" y="1645"/>
                    </a:moveTo>
                    <a:lnTo>
                      <a:pt x="784" y="1645"/>
                    </a:lnTo>
                    <a:lnTo>
                      <a:pt x="652" y="1645"/>
                    </a:lnTo>
                    <a:lnTo>
                      <a:pt x="652" y="1541"/>
                    </a:lnTo>
                    <a:lnTo>
                      <a:pt x="784" y="1541"/>
                    </a:lnTo>
                    <a:lnTo>
                      <a:pt x="989" y="1541"/>
                    </a:lnTo>
                    <a:lnTo>
                      <a:pt x="989" y="1645"/>
                    </a:lnTo>
                    <a:close/>
                    <a:moveTo>
                      <a:pt x="1445" y="2583"/>
                    </a:moveTo>
                    <a:lnTo>
                      <a:pt x="1239" y="2583"/>
                    </a:lnTo>
                    <a:lnTo>
                      <a:pt x="1239" y="2426"/>
                    </a:lnTo>
                    <a:lnTo>
                      <a:pt x="1445" y="2426"/>
                    </a:lnTo>
                    <a:lnTo>
                      <a:pt x="1445" y="2583"/>
                    </a:lnTo>
                    <a:close/>
                    <a:moveTo>
                      <a:pt x="1445" y="2324"/>
                    </a:moveTo>
                    <a:lnTo>
                      <a:pt x="1239" y="2324"/>
                    </a:lnTo>
                    <a:lnTo>
                      <a:pt x="1239" y="2168"/>
                    </a:lnTo>
                    <a:lnTo>
                      <a:pt x="1445" y="2168"/>
                    </a:lnTo>
                    <a:lnTo>
                      <a:pt x="1445" y="2324"/>
                    </a:lnTo>
                    <a:close/>
                    <a:moveTo>
                      <a:pt x="1445" y="2066"/>
                    </a:moveTo>
                    <a:lnTo>
                      <a:pt x="1239" y="2066"/>
                    </a:lnTo>
                    <a:lnTo>
                      <a:pt x="1239" y="1909"/>
                    </a:lnTo>
                    <a:lnTo>
                      <a:pt x="1445" y="1909"/>
                    </a:lnTo>
                    <a:lnTo>
                      <a:pt x="1445" y="2066"/>
                    </a:lnTo>
                    <a:close/>
                    <a:moveTo>
                      <a:pt x="1744" y="2583"/>
                    </a:moveTo>
                    <a:lnTo>
                      <a:pt x="1539" y="2583"/>
                    </a:lnTo>
                    <a:lnTo>
                      <a:pt x="1539" y="2426"/>
                    </a:lnTo>
                    <a:lnTo>
                      <a:pt x="1744" y="2426"/>
                    </a:lnTo>
                    <a:lnTo>
                      <a:pt x="1744" y="2583"/>
                    </a:lnTo>
                    <a:close/>
                    <a:moveTo>
                      <a:pt x="1744" y="2324"/>
                    </a:moveTo>
                    <a:lnTo>
                      <a:pt x="1539" y="2324"/>
                    </a:lnTo>
                    <a:lnTo>
                      <a:pt x="1539" y="2168"/>
                    </a:lnTo>
                    <a:lnTo>
                      <a:pt x="1744" y="2168"/>
                    </a:lnTo>
                    <a:lnTo>
                      <a:pt x="1744" y="2324"/>
                    </a:lnTo>
                    <a:close/>
                    <a:moveTo>
                      <a:pt x="1744" y="2066"/>
                    </a:moveTo>
                    <a:lnTo>
                      <a:pt x="1539" y="2066"/>
                    </a:lnTo>
                    <a:lnTo>
                      <a:pt x="1539" y="1909"/>
                    </a:lnTo>
                    <a:lnTo>
                      <a:pt x="1744" y="1909"/>
                    </a:lnTo>
                    <a:lnTo>
                      <a:pt x="1744" y="2066"/>
                    </a:lnTo>
                    <a:close/>
                    <a:moveTo>
                      <a:pt x="2044" y="2583"/>
                    </a:moveTo>
                    <a:lnTo>
                      <a:pt x="1840" y="2583"/>
                    </a:lnTo>
                    <a:lnTo>
                      <a:pt x="1840" y="2426"/>
                    </a:lnTo>
                    <a:lnTo>
                      <a:pt x="2044" y="2426"/>
                    </a:lnTo>
                    <a:lnTo>
                      <a:pt x="2044" y="2583"/>
                    </a:lnTo>
                    <a:close/>
                    <a:moveTo>
                      <a:pt x="2044" y="2324"/>
                    </a:moveTo>
                    <a:lnTo>
                      <a:pt x="1840" y="2324"/>
                    </a:lnTo>
                    <a:lnTo>
                      <a:pt x="1840" y="2168"/>
                    </a:lnTo>
                    <a:lnTo>
                      <a:pt x="2044" y="2168"/>
                    </a:lnTo>
                    <a:lnTo>
                      <a:pt x="2044" y="2324"/>
                    </a:lnTo>
                    <a:close/>
                    <a:moveTo>
                      <a:pt x="2044" y="2066"/>
                    </a:moveTo>
                    <a:lnTo>
                      <a:pt x="1840" y="2066"/>
                    </a:lnTo>
                    <a:lnTo>
                      <a:pt x="1840" y="1909"/>
                    </a:lnTo>
                    <a:lnTo>
                      <a:pt x="2044" y="1909"/>
                    </a:lnTo>
                    <a:lnTo>
                      <a:pt x="2044" y="2066"/>
                    </a:lnTo>
                    <a:close/>
                    <a:moveTo>
                      <a:pt x="2344" y="2583"/>
                    </a:moveTo>
                    <a:lnTo>
                      <a:pt x="2140" y="2583"/>
                    </a:lnTo>
                    <a:lnTo>
                      <a:pt x="2140" y="2426"/>
                    </a:lnTo>
                    <a:lnTo>
                      <a:pt x="2344" y="2426"/>
                    </a:lnTo>
                    <a:lnTo>
                      <a:pt x="2344" y="2583"/>
                    </a:lnTo>
                    <a:close/>
                    <a:moveTo>
                      <a:pt x="2344" y="2324"/>
                    </a:moveTo>
                    <a:lnTo>
                      <a:pt x="2140" y="2324"/>
                    </a:lnTo>
                    <a:lnTo>
                      <a:pt x="2140" y="2168"/>
                    </a:lnTo>
                    <a:lnTo>
                      <a:pt x="2344" y="2168"/>
                    </a:lnTo>
                    <a:lnTo>
                      <a:pt x="2344" y="2324"/>
                    </a:lnTo>
                    <a:close/>
                    <a:moveTo>
                      <a:pt x="2344" y="2066"/>
                    </a:moveTo>
                    <a:lnTo>
                      <a:pt x="2140" y="2066"/>
                    </a:lnTo>
                    <a:lnTo>
                      <a:pt x="2140" y="1909"/>
                    </a:lnTo>
                    <a:lnTo>
                      <a:pt x="2344" y="1909"/>
                    </a:lnTo>
                    <a:lnTo>
                      <a:pt x="2344" y="2066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A5A6A9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636" dirty="0"/>
              </a:p>
            </p:txBody>
          </p:sp>
          <p:sp>
            <p:nvSpPr>
              <p:cNvPr id="279" name="Freeform 64"/>
              <p:cNvSpPr>
                <a:spLocks/>
              </p:cNvSpPr>
              <p:nvPr/>
            </p:nvSpPr>
            <p:spPr bwMode="auto">
              <a:xfrm>
                <a:off x="1379538" y="7466012"/>
                <a:ext cx="2193925" cy="1344613"/>
              </a:xfrm>
              <a:custGeom>
                <a:avLst/>
                <a:gdLst>
                  <a:gd name="T0" fmla="*/ 2147483647 w 690"/>
                  <a:gd name="T1" fmla="*/ 2147483647 h 423"/>
                  <a:gd name="T2" fmla="*/ 2147483647 w 690"/>
                  <a:gd name="T3" fmla="*/ 2147483647 h 423"/>
                  <a:gd name="T4" fmla="*/ 2147483647 w 690"/>
                  <a:gd name="T5" fmla="*/ 2147483647 h 423"/>
                  <a:gd name="T6" fmla="*/ 2147483647 w 690"/>
                  <a:gd name="T7" fmla="*/ 2147483647 h 423"/>
                  <a:gd name="T8" fmla="*/ 2147483647 w 690"/>
                  <a:gd name="T9" fmla="*/ 2147483647 h 423"/>
                  <a:gd name="T10" fmla="*/ 2147483647 w 690"/>
                  <a:gd name="T11" fmla="*/ 2147483647 h 423"/>
                  <a:gd name="T12" fmla="*/ 2147483647 w 690"/>
                  <a:gd name="T13" fmla="*/ 0 h 423"/>
                  <a:gd name="T14" fmla="*/ 2147483647 w 690"/>
                  <a:gd name="T15" fmla="*/ 2147483647 h 423"/>
                  <a:gd name="T16" fmla="*/ 2147483647 w 690"/>
                  <a:gd name="T17" fmla="*/ 2147483647 h 423"/>
                  <a:gd name="T18" fmla="*/ 2147483647 w 690"/>
                  <a:gd name="T19" fmla="*/ 2147483647 h 423"/>
                  <a:gd name="T20" fmla="*/ 2147483647 w 690"/>
                  <a:gd name="T21" fmla="*/ 2147483647 h 423"/>
                  <a:gd name="T22" fmla="*/ 2147483647 w 690"/>
                  <a:gd name="T23" fmla="*/ 2147483647 h 423"/>
                  <a:gd name="T24" fmla="*/ 0 w 690"/>
                  <a:gd name="T25" fmla="*/ 2147483647 h 423"/>
                  <a:gd name="T26" fmla="*/ 2147483647 w 690"/>
                  <a:gd name="T27" fmla="*/ 2147483647 h 42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90" h="423">
                    <a:moveTo>
                      <a:pt x="117" y="423"/>
                    </a:moveTo>
                    <a:cubicBezTo>
                      <a:pt x="170" y="423"/>
                      <a:pt x="215" y="393"/>
                      <a:pt x="229" y="352"/>
                    </a:cubicBezTo>
                    <a:cubicBezTo>
                      <a:pt x="242" y="355"/>
                      <a:pt x="254" y="357"/>
                      <a:pt x="268" y="357"/>
                    </a:cubicBezTo>
                    <a:cubicBezTo>
                      <a:pt x="317" y="357"/>
                      <a:pt x="361" y="332"/>
                      <a:pt x="387" y="296"/>
                    </a:cubicBezTo>
                    <a:cubicBezTo>
                      <a:pt x="418" y="313"/>
                      <a:pt x="455" y="323"/>
                      <a:pt x="496" y="323"/>
                    </a:cubicBezTo>
                    <a:cubicBezTo>
                      <a:pt x="603" y="323"/>
                      <a:pt x="690" y="251"/>
                      <a:pt x="690" y="162"/>
                    </a:cubicBezTo>
                    <a:cubicBezTo>
                      <a:pt x="690" y="73"/>
                      <a:pt x="603" y="0"/>
                      <a:pt x="496" y="0"/>
                    </a:cubicBezTo>
                    <a:cubicBezTo>
                      <a:pt x="420" y="0"/>
                      <a:pt x="354" y="36"/>
                      <a:pt x="322" y="89"/>
                    </a:cubicBezTo>
                    <a:cubicBezTo>
                      <a:pt x="305" y="82"/>
                      <a:pt x="287" y="78"/>
                      <a:pt x="268" y="78"/>
                    </a:cubicBezTo>
                    <a:cubicBezTo>
                      <a:pt x="188" y="78"/>
                      <a:pt x="123" y="141"/>
                      <a:pt x="123" y="217"/>
                    </a:cubicBezTo>
                    <a:cubicBezTo>
                      <a:pt x="123" y="219"/>
                      <a:pt x="123" y="221"/>
                      <a:pt x="123" y="223"/>
                    </a:cubicBezTo>
                    <a:cubicBezTo>
                      <a:pt x="121" y="223"/>
                      <a:pt x="119" y="223"/>
                      <a:pt x="117" y="223"/>
                    </a:cubicBezTo>
                    <a:cubicBezTo>
                      <a:pt x="53" y="223"/>
                      <a:pt x="0" y="268"/>
                      <a:pt x="0" y="323"/>
                    </a:cubicBezTo>
                    <a:cubicBezTo>
                      <a:pt x="0" y="378"/>
                      <a:pt x="53" y="423"/>
                      <a:pt x="117" y="423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A5A6A9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636" dirty="0"/>
              </a:p>
            </p:txBody>
          </p:sp>
        </p:grpSp>
      </p:grpSp>
      <p:sp>
        <p:nvSpPr>
          <p:cNvPr id="280" name="TextBox 279"/>
          <p:cNvSpPr txBox="1"/>
          <p:nvPr/>
        </p:nvSpPr>
        <p:spPr>
          <a:xfrm>
            <a:off x="1265103" y="3135787"/>
            <a:ext cx="842169" cy="209671"/>
          </a:xfrm>
          <a:prstGeom prst="rect">
            <a:avLst/>
          </a:prstGeom>
          <a:noFill/>
        </p:spPr>
        <p:txBody>
          <a:bodyPr wrap="square" lIns="82993" tIns="41496" rIns="82993" bIns="41496" rtlCol="0">
            <a:spAutoFit/>
          </a:bodyPr>
          <a:lstStyle/>
          <a:p>
            <a:pPr algn="ctr"/>
            <a:r>
              <a:rPr lang="ru-RU" sz="818" dirty="0">
                <a:solidFill>
                  <a:srgbClr val="000000">
                    <a:lumMod val="50000"/>
                    <a:lumOff val="50000"/>
                  </a:srgbClr>
                </a:solidFill>
              </a:rPr>
              <a:t>Финляндия</a:t>
            </a:r>
            <a:endParaRPr lang="en-US" sz="818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81" name="TextBox 280"/>
          <p:cNvSpPr txBox="1"/>
          <p:nvPr/>
        </p:nvSpPr>
        <p:spPr>
          <a:xfrm>
            <a:off x="1034701" y="2232479"/>
            <a:ext cx="1532807" cy="237691"/>
          </a:xfrm>
          <a:prstGeom prst="rect">
            <a:avLst/>
          </a:prstGeom>
          <a:noFill/>
        </p:spPr>
        <p:txBody>
          <a:bodyPr wrap="square" lIns="82993" tIns="41496" rIns="82993" bIns="41496" rtlCol="0">
            <a:spAutoFit/>
          </a:bodyPr>
          <a:lstStyle/>
          <a:p>
            <a:pPr algn="ctr"/>
            <a:r>
              <a:rPr lang="ru-RU" sz="1000" b="1" dirty="0">
                <a:solidFill>
                  <a:srgbClr val="000000"/>
                </a:solidFill>
              </a:rPr>
              <a:t>Кольская ГМК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pSp>
        <p:nvGrpSpPr>
          <p:cNvPr id="282" name="Group 211"/>
          <p:cNvGrpSpPr/>
          <p:nvPr/>
        </p:nvGrpSpPr>
        <p:grpSpPr>
          <a:xfrm>
            <a:off x="3525726" y="2581821"/>
            <a:ext cx="300423" cy="300239"/>
            <a:chOff x="8950187" y="4154374"/>
            <a:chExt cx="180000" cy="180000"/>
          </a:xfrm>
        </p:grpSpPr>
        <p:sp>
          <p:nvSpPr>
            <p:cNvPr id="283" name="Oval 402"/>
            <p:cNvSpPr>
              <a:spLocks noChangeAspect="1"/>
            </p:cNvSpPr>
            <p:nvPr/>
          </p:nvSpPr>
          <p:spPr bwMode="auto">
            <a:xfrm>
              <a:off x="8950187" y="4154374"/>
              <a:ext cx="180000" cy="180000"/>
            </a:xfrm>
            <a:prstGeom prst="ellipse">
              <a:avLst/>
            </a:prstGeom>
            <a:solidFill>
              <a:srgbClr val="D60500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sp>
          <p:nvSpPr>
            <p:cNvPr id="284" name="Freeform 298"/>
            <p:cNvSpPr>
              <a:spLocks noChangeAspect="1" noEditPoints="1"/>
            </p:cNvSpPr>
            <p:nvPr/>
          </p:nvSpPr>
          <p:spPr bwMode="auto">
            <a:xfrm>
              <a:off x="8981140" y="4207292"/>
              <a:ext cx="119911" cy="85199"/>
            </a:xfrm>
            <a:custGeom>
              <a:avLst/>
              <a:gdLst>
                <a:gd name="T0" fmla="*/ 2147483647 w 190"/>
                <a:gd name="T1" fmla="*/ 2147483647 h 118"/>
                <a:gd name="T2" fmla="*/ 2147483647 w 190"/>
                <a:gd name="T3" fmla="*/ 2147483647 h 118"/>
                <a:gd name="T4" fmla="*/ 2147483647 w 190"/>
                <a:gd name="T5" fmla="*/ 2147483647 h 118"/>
                <a:gd name="T6" fmla="*/ 2147483647 w 190"/>
                <a:gd name="T7" fmla="*/ 0 h 118"/>
                <a:gd name="T8" fmla="*/ 2147483647 w 190"/>
                <a:gd name="T9" fmla="*/ 0 h 118"/>
                <a:gd name="T10" fmla="*/ 2147483647 w 190"/>
                <a:gd name="T11" fmla="*/ 2147483647 h 118"/>
                <a:gd name="T12" fmla="*/ 0 w 190"/>
                <a:gd name="T13" fmla="*/ 2147483647 h 118"/>
                <a:gd name="T14" fmla="*/ 0 w 190"/>
                <a:gd name="T15" fmla="*/ 2147483647 h 118"/>
                <a:gd name="T16" fmla="*/ 2147483647 w 190"/>
                <a:gd name="T17" fmla="*/ 2147483647 h 118"/>
                <a:gd name="T18" fmla="*/ 2147483647 w 190"/>
                <a:gd name="T19" fmla="*/ 2147483647 h 118"/>
                <a:gd name="T20" fmla="*/ 2147483647 w 190"/>
                <a:gd name="T21" fmla="*/ 2147483647 h 118"/>
                <a:gd name="T22" fmla="*/ 2147483647 w 190"/>
                <a:gd name="T23" fmla="*/ 2147483647 h 118"/>
                <a:gd name="T24" fmla="*/ 2147483647 w 190"/>
                <a:gd name="T25" fmla="*/ 2147483647 h 118"/>
                <a:gd name="T26" fmla="*/ 2147483647 w 190"/>
                <a:gd name="T27" fmla="*/ 2147483647 h 118"/>
                <a:gd name="T28" fmla="*/ 2147483647 w 190"/>
                <a:gd name="T29" fmla="*/ 2147483647 h 118"/>
                <a:gd name="T30" fmla="*/ 2147483647 w 190"/>
                <a:gd name="T31" fmla="*/ 2147483647 h 118"/>
                <a:gd name="T32" fmla="*/ 2147483647 w 190"/>
                <a:gd name="T33" fmla="*/ 2147483647 h 118"/>
                <a:gd name="T34" fmla="*/ 2147483647 w 190"/>
                <a:gd name="T35" fmla="*/ 2147483647 h 118"/>
                <a:gd name="T36" fmla="*/ 2147483647 w 190"/>
                <a:gd name="T37" fmla="*/ 2147483647 h 118"/>
                <a:gd name="T38" fmla="*/ 2147483647 w 190"/>
                <a:gd name="T39" fmla="*/ 2147483647 h 118"/>
                <a:gd name="T40" fmla="*/ 2147483647 w 190"/>
                <a:gd name="T41" fmla="*/ 2147483647 h 118"/>
                <a:gd name="T42" fmla="*/ 2147483647 w 190"/>
                <a:gd name="T43" fmla="*/ 2147483647 h 118"/>
                <a:gd name="T44" fmla="*/ 2147483647 w 190"/>
                <a:gd name="T45" fmla="*/ 2147483647 h 118"/>
                <a:gd name="T46" fmla="*/ 2147483647 w 190"/>
                <a:gd name="T47" fmla="*/ 2147483647 h 118"/>
                <a:gd name="T48" fmla="*/ 2147483647 w 190"/>
                <a:gd name="T49" fmla="*/ 2147483647 h 118"/>
                <a:gd name="T50" fmla="*/ 2147483647 w 190"/>
                <a:gd name="T51" fmla="*/ 2147483647 h 118"/>
                <a:gd name="T52" fmla="*/ 2147483647 w 190"/>
                <a:gd name="T53" fmla="*/ 2147483647 h 118"/>
                <a:gd name="T54" fmla="*/ 2147483647 w 190"/>
                <a:gd name="T55" fmla="*/ 2147483647 h 118"/>
                <a:gd name="T56" fmla="*/ 2147483647 w 190"/>
                <a:gd name="T57" fmla="*/ 2147483647 h 118"/>
                <a:gd name="T58" fmla="*/ 2147483647 w 190"/>
                <a:gd name="T59" fmla="*/ 2147483647 h 118"/>
                <a:gd name="T60" fmla="*/ 2147483647 w 190"/>
                <a:gd name="T61" fmla="*/ 2147483647 h 118"/>
                <a:gd name="T62" fmla="*/ 2147483647 w 190"/>
                <a:gd name="T63" fmla="*/ 2147483647 h 118"/>
                <a:gd name="T64" fmla="*/ 2147483647 w 190"/>
                <a:gd name="T65" fmla="*/ 2147483647 h 118"/>
                <a:gd name="T66" fmla="*/ 2147483647 w 190"/>
                <a:gd name="T67" fmla="*/ 2147483647 h 118"/>
                <a:gd name="T68" fmla="*/ 2147483647 w 190"/>
                <a:gd name="T69" fmla="*/ 2147483647 h 118"/>
                <a:gd name="T70" fmla="*/ 2147483647 w 190"/>
                <a:gd name="T71" fmla="*/ 2147483647 h 118"/>
                <a:gd name="T72" fmla="*/ 2147483647 w 190"/>
                <a:gd name="T73" fmla="*/ 2147483647 h 118"/>
                <a:gd name="T74" fmla="*/ 2147483647 w 190"/>
                <a:gd name="T75" fmla="*/ 2147483647 h 118"/>
                <a:gd name="T76" fmla="*/ 2147483647 w 190"/>
                <a:gd name="T77" fmla="*/ 2147483647 h 118"/>
                <a:gd name="T78" fmla="*/ 2147483647 w 190"/>
                <a:gd name="T79" fmla="*/ 2147483647 h 118"/>
                <a:gd name="T80" fmla="*/ 2147483647 w 190"/>
                <a:gd name="T81" fmla="*/ 2147483647 h 118"/>
                <a:gd name="T82" fmla="*/ 2147483647 w 190"/>
                <a:gd name="T83" fmla="*/ 2147483647 h 118"/>
                <a:gd name="T84" fmla="*/ 2147483647 w 190"/>
                <a:gd name="T85" fmla="*/ 2147483647 h 118"/>
                <a:gd name="T86" fmla="*/ 2147483647 w 190"/>
                <a:gd name="T87" fmla="*/ 2147483647 h 118"/>
                <a:gd name="T88" fmla="*/ 2147483647 w 190"/>
                <a:gd name="T89" fmla="*/ 2147483647 h 118"/>
                <a:gd name="T90" fmla="*/ 2147483647 w 190"/>
                <a:gd name="T91" fmla="*/ 2147483647 h 118"/>
                <a:gd name="T92" fmla="*/ 2147483647 w 190"/>
                <a:gd name="T93" fmla="*/ 2147483647 h 11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90" h="118">
                  <a:moveTo>
                    <a:pt x="190" y="11"/>
                  </a:moveTo>
                  <a:cubicBezTo>
                    <a:pt x="190" y="2"/>
                    <a:pt x="190" y="2"/>
                    <a:pt x="190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33" y="112"/>
                    <a:pt x="33" y="112"/>
                    <a:pt x="33" y="11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150" y="97"/>
                    <a:pt x="150" y="97"/>
                    <a:pt x="150" y="97"/>
                  </a:cubicBezTo>
                  <a:cubicBezTo>
                    <a:pt x="150" y="118"/>
                    <a:pt x="150" y="118"/>
                    <a:pt x="150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2"/>
                    <a:pt x="156" y="112"/>
                    <a:pt x="156" y="112"/>
                  </a:cubicBezTo>
                  <a:cubicBezTo>
                    <a:pt x="161" y="112"/>
                    <a:pt x="161" y="112"/>
                    <a:pt x="161" y="112"/>
                  </a:cubicBezTo>
                  <a:cubicBezTo>
                    <a:pt x="161" y="97"/>
                    <a:pt x="161" y="97"/>
                    <a:pt x="161" y="97"/>
                  </a:cubicBezTo>
                  <a:cubicBezTo>
                    <a:pt x="179" y="97"/>
                    <a:pt x="179" y="97"/>
                    <a:pt x="179" y="97"/>
                  </a:cubicBezTo>
                  <a:cubicBezTo>
                    <a:pt x="179" y="84"/>
                    <a:pt x="179" y="84"/>
                    <a:pt x="179" y="84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45" y="54"/>
                    <a:pt x="145" y="54"/>
                    <a:pt x="145" y="54"/>
                  </a:cubicBezTo>
                  <a:cubicBezTo>
                    <a:pt x="170" y="11"/>
                    <a:pt x="170" y="11"/>
                    <a:pt x="170" y="11"/>
                  </a:cubicBezTo>
                  <a:lnTo>
                    <a:pt x="190" y="11"/>
                  </a:lnTo>
                  <a:close/>
                  <a:moveTo>
                    <a:pt x="150" y="84"/>
                  </a:moveTo>
                  <a:cubicBezTo>
                    <a:pt x="39" y="84"/>
                    <a:pt x="39" y="84"/>
                    <a:pt x="39" y="8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3" y="37"/>
                    <a:pt x="75" y="35"/>
                    <a:pt x="77" y="33"/>
                  </a:cubicBezTo>
                  <a:cubicBezTo>
                    <a:pt x="83" y="31"/>
                    <a:pt x="89" y="30"/>
                    <a:pt x="95" y="30"/>
                  </a:cubicBezTo>
                  <a:cubicBezTo>
                    <a:pt x="101" y="30"/>
                    <a:pt x="107" y="31"/>
                    <a:pt x="113" y="34"/>
                  </a:cubicBezTo>
                  <a:cubicBezTo>
                    <a:pt x="115" y="35"/>
                    <a:pt x="117" y="37"/>
                    <a:pt x="118" y="39"/>
                  </a:cubicBezTo>
                  <a:lnTo>
                    <a:pt x="150" y="84"/>
                  </a:lnTo>
                  <a:close/>
                  <a:moveTo>
                    <a:pt x="95" y="35"/>
                  </a:moveTo>
                  <a:cubicBezTo>
                    <a:pt x="86" y="35"/>
                    <a:pt x="79" y="39"/>
                    <a:pt x="75" y="45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67" y="76"/>
                    <a:pt x="79" y="82"/>
                    <a:pt x="92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110" y="82"/>
                    <a:pt x="122" y="76"/>
                    <a:pt x="130" y="68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0" y="39"/>
                    <a:pt x="103" y="35"/>
                    <a:pt x="9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endParaRPr lang="en-GB" sz="1636" dirty="0"/>
            </a:p>
          </p:txBody>
        </p:sp>
      </p:grpSp>
      <p:grpSp>
        <p:nvGrpSpPr>
          <p:cNvPr id="285" name="Group 214"/>
          <p:cNvGrpSpPr/>
          <p:nvPr/>
        </p:nvGrpSpPr>
        <p:grpSpPr>
          <a:xfrm>
            <a:off x="3785325" y="2553184"/>
            <a:ext cx="300423" cy="300239"/>
            <a:chOff x="6885610" y="4154374"/>
            <a:chExt cx="180000" cy="180000"/>
          </a:xfrm>
        </p:grpSpPr>
        <p:sp>
          <p:nvSpPr>
            <p:cNvPr id="286" name="Oval 405"/>
            <p:cNvSpPr>
              <a:spLocks noChangeAspect="1"/>
            </p:cNvSpPr>
            <p:nvPr/>
          </p:nvSpPr>
          <p:spPr bwMode="auto">
            <a:xfrm>
              <a:off x="6885610" y="4154374"/>
              <a:ext cx="180000" cy="180000"/>
            </a:xfrm>
            <a:prstGeom prst="ellipse">
              <a:avLst/>
            </a:prstGeom>
            <a:solidFill>
              <a:srgbClr val="F09230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sp>
          <p:nvSpPr>
            <p:cNvPr id="287" name="Freeform 41"/>
            <p:cNvSpPr>
              <a:spLocks noEditPoints="1"/>
            </p:cNvSpPr>
            <p:nvPr/>
          </p:nvSpPr>
          <p:spPr bwMode="auto">
            <a:xfrm>
              <a:off x="6933230" y="4193454"/>
              <a:ext cx="85015" cy="104113"/>
            </a:xfrm>
            <a:custGeom>
              <a:avLst/>
              <a:gdLst>
                <a:gd name="T0" fmla="*/ 2147483647 w 641"/>
                <a:gd name="T1" fmla="*/ 2147483647 h 785"/>
                <a:gd name="T2" fmla="*/ 2147483647 w 641"/>
                <a:gd name="T3" fmla="*/ 2147483647 h 785"/>
                <a:gd name="T4" fmla="*/ 2147483647 w 641"/>
                <a:gd name="T5" fmla="*/ 0 h 785"/>
                <a:gd name="T6" fmla="*/ 2147483647 w 641"/>
                <a:gd name="T7" fmla="*/ 2147483647 h 785"/>
                <a:gd name="T8" fmla="*/ 2147483647 w 641"/>
                <a:gd name="T9" fmla="*/ 2147483647 h 785"/>
                <a:gd name="T10" fmla="*/ 2147483647 w 641"/>
                <a:gd name="T11" fmla="*/ 2147483647 h 785"/>
                <a:gd name="T12" fmla="*/ 2147483647 w 641"/>
                <a:gd name="T13" fmla="*/ 2147483647 h 785"/>
                <a:gd name="T14" fmla="*/ 2147483647 w 641"/>
                <a:gd name="T15" fmla="*/ 2147483647 h 785"/>
                <a:gd name="T16" fmla="*/ 2147483647 w 641"/>
                <a:gd name="T17" fmla="*/ 2147483647 h 785"/>
                <a:gd name="T18" fmla="*/ 2147483647 w 641"/>
                <a:gd name="T19" fmla="*/ 2147483647 h 785"/>
                <a:gd name="T20" fmla="*/ 2147483647 w 641"/>
                <a:gd name="T21" fmla="*/ 2147483647 h 785"/>
                <a:gd name="T22" fmla="*/ 2147483647 w 641"/>
                <a:gd name="T23" fmla="*/ 2147483647 h 785"/>
                <a:gd name="T24" fmla="*/ 2147483647 w 641"/>
                <a:gd name="T25" fmla="*/ 2147483647 h 785"/>
                <a:gd name="T26" fmla="*/ 2147483647 w 641"/>
                <a:gd name="T27" fmla="*/ 2147483647 h 785"/>
                <a:gd name="T28" fmla="*/ 2147483647 w 641"/>
                <a:gd name="T29" fmla="*/ 2147483647 h 785"/>
                <a:gd name="T30" fmla="*/ 2147483647 w 641"/>
                <a:gd name="T31" fmla="*/ 2147483647 h 785"/>
                <a:gd name="T32" fmla="*/ 2147483647 w 641"/>
                <a:gd name="T33" fmla="*/ 2147483647 h 785"/>
                <a:gd name="T34" fmla="*/ 2147483647 w 641"/>
                <a:gd name="T35" fmla="*/ 2147483647 h 785"/>
                <a:gd name="T36" fmla="*/ 2147483647 w 641"/>
                <a:gd name="T37" fmla="*/ 2147483647 h 785"/>
                <a:gd name="T38" fmla="*/ 2147483647 w 641"/>
                <a:gd name="T39" fmla="*/ 2147483647 h 785"/>
                <a:gd name="T40" fmla="*/ 2147483647 w 641"/>
                <a:gd name="T41" fmla="*/ 2147483647 h 785"/>
                <a:gd name="T42" fmla="*/ 2147483647 w 641"/>
                <a:gd name="T43" fmla="*/ 2147483647 h 785"/>
                <a:gd name="T44" fmla="*/ 2147483647 w 641"/>
                <a:gd name="T45" fmla="*/ 2147483647 h 785"/>
                <a:gd name="T46" fmla="*/ 2147483647 w 641"/>
                <a:gd name="T47" fmla="*/ 2147483647 h 785"/>
                <a:gd name="T48" fmla="*/ 0 w 641"/>
                <a:gd name="T49" fmla="*/ 2147483647 h 785"/>
                <a:gd name="T50" fmla="*/ 2147483647 w 641"/>
                <a:gd name="T51" fmla="*/ 2147483647 h 785"/>
                <a:gd name="T52" fmla="*/ 2147483647 w 641"/>
                <a:gd name="T53" fmla="*/ 2147483647 h 785"/>
                <a:gd name="T54" fmla="*/ 2147483647 w 641"/>
                <a:gd name="T55" fmla="*/ 2147483647 h 785"/>
                <a:gd name="T56" fmla="*/ 2147483647 w 641"/>
                <a:gd name="T57" fmla="*/ 2147483647 h 785"/>
                <a:gd name="T58" fmla="*/ 2147483647 w 641"/>
                <a:gd name="T59" fmla="*/ 2147483647 h 785"/>
                <a:gd name="T60" fmla="*/ 2147483647 w 641"/>
                <a:gd name="T61" fmla="*/ 2147483647 h 785"/>
                <a:gd name="T62" fmla="*/ 2147483647 w 641"/>
                <a:gd name="T63" fmla="*/ 2147483647 h 785"/>
                <a:gd name="T64" fmla="*/ 2147483647 w 641"/>
                <a:gd name="T65" fmla="*/ 2147483647 h 785"/>
                <a:gd name="T66" fmla="*/ 2147483647 w 641"/>
                <a:gd name="T67" fmla="*/ 2147483647 h 785"/>
                <a:gd name="T68" fmla="*/ 2147483647 w 641"/>
                <a:gd name="T69" fmla="*/ 2147483647 h 785"/>
                <a:gd name="T70" fmla="*/ 2147483647 w 641"/>
                <a:gd name="T71" fmla="*/ 2147483647 h 785"/>
                <a:gd name="T72" fmla="*/ 2147483647 w 641"/>
                <a:gd name="T73" fmla="*/ 2147483647 h 785"/>
                <a:gd name="T74" fmla="*/ 2147483647 w 641"/>
                <a:gd name="T75" fmla="*/ 2147483647 h 785"/>
                <a:gd name="T76" fmla="*/ 2147483647 w 641"/>
                <a:gd name="T77" fmla="*/ 2147483647 h 785"/>
                <a:gd name="T78" fmla="*/ 2147483647 w 641"/>
                <a:gd name="T79" fmla="*/ 2147483647 h 785"/>
                <a:gd name="T80" fmla="*/ 2147483647 w 641"/>
                <a:gd name="T81" fmla="*/ 2147483647 h 785"/>
                <a:gd name="T82" fmla="*/ 2147483647 w 641"/>
                <a:gd name="T83" fmla="*/ 2147483647 h 785"/>
                <a:gd name="T84" fmla="*/ 2147483647 w 641"/>
                <a:gd name="T85" fmla="*/ 2147483647 h 785"/>
                <a:gd name="T86" fmla="*/ 2147483647 w 641"/>
                <a:gd name="T87" fmla="*/ 2147483647 h 785"/>
                <a:gd name="T88" fmla="*/ 2147483647 w 641"/>
                <a:gd name="T89" fmla="*/ 2147483647 h 785"/>
                <a:gd name="T90" fmla="*/ 2147483647 w 641"/>
                <a:gd name="T91" fmla="*/ 2147483647 h 785"/>
                <a:gd name="T92" fmla="*/ 2147483647 w 641"/>
                <a:gd name="T93" fmla="*/ 2147483647 h 785"/>
                <a:gd name="T94" fmla="*/ 2147483647 w 641"/>
                <a:gd name="T95" fmla="*/ 2147483647 h 785"/>
                <a:gd name="T96" fmla="*/ 2147483647 w 641"/>
                <a:gd name="T97" fmla="*/ 2147483647 h 785"/>
                <a:gd name="T98" fmla="*/ 2147483647 w 641"/>
                <a:gd name="T99" fmla="*/ 2147483647 h 785"/>
                <a:gd name="T100" fmla="*/ 2147483647 w 641"/>
                <a:gd name="T101" fmla="*/ 2147483647 h 785"/>
                <a:gd name="T102" fmla="*/ 2147483647 w 641"/>
                <a:gd name="T103" fmla="*/ 2147483647 h 785"/>
                <a:gd name="T104" fmla="*/ 2147483647 w 641"/>
                <a:gd name="T105" fmla="*/ 2147483647 h 7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41" h="785">
                  <a:moveTo>
                    <a:pt x="616" y="724"/>
                  </a:moveTo>
                  <a:lnTo>
                    <a:pt x="616" y="448"/>
                  </a:lnTo>
                  <a:lnTo>
                    <a:pt x="561" y="448"/>
                  </a:lnTo>
                  <a:lnTo>
                    <a:pt x="561" y="404"/>
                  </a:lnTo>
                  <a:lnTo>
                    <a:pt x="523" y="404"/>
                  </a:lnTo>
                  <a:lnTo>
                    <a:pt x="507" y="0"/>
                  </a:lnTo>
                  <a:lnTo>
                    <a:pt x="452" y="0"/>
                  </a:lnTo>
                  <a:lnTo>
                    <a:pt x="436" y="404"/>
                  </a:lnTo>
                  <a:lnTo>
                    <a:pt x="394" y="404"/>
                  </a:lnTo>
                  <a:lnTo>
                    <a:pt x="394" y="448"/>
                  </a:lnTo>
                  <a:lnTo>
                    <a:pt x="339" y="448"/>
                  </a:lnTo>
                  <a:lnTo>
                    <a:pt x="339" y="724"/>
                  </a:lnTo>
                  <a:lnTo>
                    <a:pt x="300" y="724"/>
                  </a:lnTo>
                  <a:lnTo>
                    <a:pt x="300" y="684"/>
                  </a:lnTo>
                  <a:lnTo>
                    <a:pt x="282" y="684"/>
                  </a:lnTo>
                  <a:lnTo>
                    <a:pt x="276" y="684"/>
                  </a:lnTo>
                  <a:lnTo>
                    <a:pt x="276" y="429"/>
                  </a:lnTo>
                  <a:lnTo>
                    <a:pt x="266" y="418"/>
                  </a:lnTo>
                  <a:lnTo>
                    <a:pt x="256" y="407"/>
                  </a:lnTo>
                  <a:lnTo>
                    <a:pt x="242" y="394"/>
                  </a:lnTo>
                  <a:lnTo>
                    <a:pt x="225" y="382"/>
                  </a:lnTo>
                  <a:lnTo>
                    <a:pt x="215" y="376"/>
                  </a:lnTo>
                  <a:lnTo>
                    <a:pt x="205" y="370"/>
                  </a:lnTo>
                  <a:lnTo>
                    <a:pt x="196" y="366"/>
                  </a:lnTo>
                  <a:lnTo>
                    <a:pt x="185" y="362"/>
                  </a:lnTo>
                  <a:lnTo>
                    <a:pt x="173" y="358"/>
                  </a:lnTo>
                  <a:lnTo>
                    <a:pt x="162" y="357"/>
                  </a:lnTo>
                  <a:lnTo>
                    <a:pt x="162" y="352"/>
                  </a:lnTo>
                  <a:lnTo>
                    <a:pt x="144" y="352"/>
                  </a:lnTo>
                  <a:lnTo>
                    <a:pt x="144" y="358"/>
                  </a:lnTo>
                  <a:lnTo>
                    <a:pt x="133" y="359"/>
                  </a:lnTo>
                  <a:lnTo>
                    <a:pt x="122" y="363"/>
                  </a:lnTo>
                  <a:lnTo>
                    <a:pt x="112" y="367"/>
                  </a:lnTo>
                  <a:lnTo>
                    <a:pt x="102" y="372"/>
                  </a:lnTo>
                  <a:lnTo>
                    <a:pt x="92" y="378"/>
                  </a:lnTo>
                  <a:lnTo>
                    <a:pt x="84" y="383"/>
                  </a:lnTo>
                  <a:lnTo>
                    <a:pt x="67" y="396"/>
                  </a:lnTo>
                  <a:lnTo>
                    <a:pt x="54" y="408"/>
                  </a:lnTo>
                  <a:lnTo>
                    <a:pt x="45" y="419"/>
                  </a:lnTo>
                  <a:lnTo>
                    <a:pt x="36" y="429"/>
                  </a:lnTo>
                  <a:lnTo>
                    <a:pt x="36" y="684"/>
                  </a:lnTo>
                  <a:lnTo>
                    <a:pt x="18" y="684"/>
                  </a:lnTo>
                  <a:lnTo>
                    <a:pt x="16" y="684"/>
                  </a:lnTo>
                  <a:lnTo>
                    <a:pt x="16" y="724"/>
                  </a:lnTo>
                  <a:lnTo>
                    <a:pt x="0" y="724"/>
                  </a:lnTo>
                  <a:lnTo>
                    <a:pt x="0" y="785"/>
                  </a:lnTo>
                  <a:lnTo>
                    <a:pt x="641" y="785"/>
                  </a:lnTo>
                  <a:lnTo>
                    <a:pt x="641" y="724"/>
                  </a:lnTo>
                  <a:lnTo>
                    <a:pt x="616" y="724"/>
                  </a:lnTo>
                  <a:close/>
                  <a:moveTo>
                    <a:pt x="481" y="497"/>
                  </a:moveTo>
                  <a:lnTo>
                    <a:pt x="573" y="497"/>
                  </a:lnTo>
                  <a:lnTo>
                    <a:pt x="573" y="532"/>
                  </a:lnTo>
                  <a:lnTo>
                    <a:pt x="481" y="532"/>
                  </a:lnTo>
                  <a:lnTo>
                    <a:pt x="481" y="497"/>
                  </a:lnTo>
                  <a:close/>
                  <a:moveTo>
                    <a:pt x="481" y="545"/>
                  </a:moveTo>
                  <a:lnTo>
                    <a:pt x="573" y="545"/>
                  </a:lnTo>
                  <a:lnTo>
                    <a:pt x="573" y="594"/>
                  </a:lnTo>
                  <a:lnTo>
                    <a:pt x="481" y="594"/>
                  </a:lnTo>
                  <a:lnTo>
                    <a:pt x="481" y="545"/>
                  </a:lnTo>
                  <a:close/>
                  <a:moveTo>
                    <a:pt x="481" y="606"/>
                  </a:moveTo>
                  <a:lnTo>
                    <a:pt x="573" y="606"/>
                  </a:lnTo>
                  <a:lnTo>
                    <a:pt x="573" y="655"/>
                  </a:lnTo>
                  <a:lnTo>
                    <a:pt x="481" y="655"/>
                  </a:lnTo>
                  <a:lnTo>
                    <a:pt x="481" y="606"/>
                  </a:lnTo>
                  <a:close/>
                  <a:moveTo>
                    <a:pt x="481" y="668"/>
                  </a:moveTo>
                  <a:lnTo>
                    <a:pt x="573" y="668"/>
                  </a:lnTo>
                  <a:lnTo>
                    <a:pt x="573" y="701"/>
                  </a:lnTo>
                  <a:lnTo>
                    <a:pt x="481" y="701"/>
                  </a:lnTo>
                  <a:lnTo>
                    <a:pt x="481" y="668"/>
                  </a:lnTo>
                  <a:close/>
                  <a:moveTo>
                    <a:pt x="377" y="497"/>
                  </a:moveTo>
                  <a:lnTo>
                    <a:pt x="468" y="497"/>
                  </a:lnTo>
                  <a:lnTo>
                    <a:pt x="468" y="532"/>
                  </a:lnTo>
                  <a:lnTo>
                    <a:pt x="377" y="532"/>
                  </a:lnTo>
                  <a:lnTo>
                    <a:pt x="377" y="497"/>
                  </a:lnTo>
                  <a:close/>
                  <a:moveTo>
                    <a:pt x="377" y="545"/>
                  </a:moveTo>
                  <a:lnTo>
                    <a:pt x="468" y="545"/>
                  </a:lnTo>
                  <a:lnTo>
                    <a:pt x="468" y="594"/>
                  </a:lnTo>
                  <a:lnTo>
                    <a:pt x="377" y="594"/>
                  </a:lnTo>
                  <a:lnTo>
                    <a:pt x="377" y="545"/>
                  </a:lnTo>
                  <a:close/>
                  <a:moveTo>
                    <a:pt x="377" y="606"/>
                  </a:moveTo>
                  <a:lnTo>
                    <a:pt x="468" y="606"/>
                  </a:lnTo>
                  <a:lnTo>
                    <a:pt x="468" y="655"/>
                  </a:lnTo>
                  <a:lnTo>
                    <a:pt x="377" y="655"/>
                  </a:lnTo>
                  <a:lnTo>
                    <a:pt x="377" y="606"/>
                  </a:lnTo>
                  <a:close/>
                  <a:moveTo>
                    <a:pt x="377" y="668"/>
                  </a:moveTo>
                  <a:lnTo>
                    <a:pt x="468" y="668"/>
                  </a:lnTo>
                  <a:lnTo>
                    <a:pt x="468" y="701"/>
                  </a:lnTo>
                  <a:lnTo>
                    <a:pt x="377" y="701"/>
                  </a:lnTo>
                  <a:lnTo>
                    <a:pt x="377" y="668"/>
                  </a:lnTo>
                  <a:close/>
                  <a:moveTo>
                    <a:pt x="58" y="436"/>
                  </a:moveTo>
                  <a:lnTo>
                    <a:pt x="58" y="436"/>
                  </a:lnTo>
                  <a:lnTo>
                    <a:pt x="59" y="433"/>
                  </a:lnTo>
                  <a:lnTo>
                    <a:pt x="60" y="431"/>
                  </a:lnTo>
                  <a:lnTo>
                    <a:pt x="62" y="430"/>
                  </a:lnTo>
                  <a:lnTo>
                    <a:pt x="64" y="429"/>
                  </a:lnTo>
                  <a:lnTo>
                    <a:pt x="67" y="430"/>
                  </a:lnTo>
                  <a:lnTo>
                    <a:pt x="70" y="431"/>
                  </a:lnTo>
                  <a:lnTo>
                    <a:pt x="71" y="433"/>
                  </a:lnTo>
                  <a:lnTo>
                    <a:pt x="71" y="436"/>
                  </a:lnTo>
                  <a:lnTo>
                    <a:pt x="71" y="684"/>
                  </a:lnTo>
                  <a:lnTo>
                    <a:pt x="58" y="684"/>
                  </a:lnTo>
                  <a:lnTo>
                    <a:pt x="58" y="4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endParaRPr lang="en-GB" sz="1636" dirty="0"/>
            </a:p>
          </p:txBody>
        </p:sp>
      </p:grpSp>
      <p:grpSp>
        <p:nvGrpSpPr>
          <p:cNvPr id="288" name="Group 138"/>
          <p:cNvGrpSpPr/>
          <p:nvPr/>
        </p:nvGrpSpPr>
        <p:grpSpPr>
          <a:xfrm>
            <a:off x="3637516" y="2768669"/>
            <a:ext cx="300423" cy="300239"/>
            <a:chOff x="5706396" y="5203566"/>
            <a:chExt cx="180000" cy="180000"/>
          </a:xfrm>
        </p:grpSpPr>
        <p:sp>
          <p:nvSpPr>
            <p:cNvPr id="289" name="Oval 408"/>
            <p:cNvSpPr>
              <a:spLocks noChangeAspect="1"/>
            </p:cNvSpPr>
            <p:nvPr/>
          </p:nvSpPr>
          <p:spPr bwMode="auto">
            <a:xfrm>
              <a:off x="5706396" y="5203566"/>
              <a:ext cx="180000" cy="180000"/>
            </a:xfrm>
            <a:prstGeom prst="ellipse">
              <a:avLst/>
            </a:prstGeom>
            <a:solidFill>
              <a:srgbClr val="14446C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grpSp>
          <p:nvGrpSpPr>
            <p:cNvPr id="290" name="Group 11"/>
            <p:cNvGrpSpPr>
              <a:grpSpLocks noChangeAspect="1"/>
            </p:cNvGrpSpPr>
            <p:nvPr/>
          </p:nvGrpSpPr>
          <p:grpSpPr bwMode="auto">
            <a:xfrm>
              <a:off x="5755701" y="5219700"/>
              <a:ext cx="84156" cy="129540"/>
              <a:chOff x="576263" y="7466012"/>
              <a:chExt cx="3898900" cy="6003926"/>
            </a:xfrm>
            <a:solidFill>
              <a:schemeClr val="bg1"/>
            </a:solidFill>
          </p:grpSpPr>
          <p:sp>
            <p:nvSpPr>
              <p:cNvPr id="291" name="Freeform 63"/>
              <p:cNvSpPr>
                <a:spLocks noEditPoints="1"/>
              </p:cNvSpPr>
              <p:nvPr/>
            </p:nvSpPr>
            <p:spPr bwMode="auto">
              <a:xfrm>
                <a:off x="576263" y="8978900"/>
                <a:ext cx="3898900" cy="4491038"/>
              </a:xfrm>
              <a:custGeom>
                <a:avLst/>
                <a:gdLst>
                  <a:gd name="T0" fmla="*/ 2147483647 w 2456"/>
                  <a:gd name="T1" fmla="*/ 2147483647 h 2829"/>
                  <a:gd name="T2" fmla="*/ 2147483647 w 2456"/>
                  <a:gd name="T3" fmla="*/ 2147483647 h 2829"/>
                  <a:gd name="T4" fmla="*/ 2147483647 w 2456"/>
                  <a:gd name="T5" fmla="*/ 2147483647 h 2829"/>
                  <a:gd name="T6" fmla="*/ 2147483647 w 2456"/>
                  <a:gd name="T7" fmla="*/ 2147483647 h 2829"/>
                  <a:gd name="T8" fmla="*/ 2147483647 w 2456"/>
                  <a:gd name="T9" fmla="*/ 2147483647 h 2829"/>
                  <a:gd name="T10" fmla="*/ 2147483647 w 2456"/>
                  <a:gd name="T11" fmla="*/ 2147483647 h 2829"/>
                  <a:gd name="T12" fmla="*/ 2147483647 w 2456"/>
                  <a:gd name="T13" fmla="*/ 2147483647 h 2829"/>
                  <a:gd name="T14" fmla="*/ 2147483647 w 2456"/>
                  <a:gd name="T15" fmla="*/ 2147483647 h 2829"/>
                  <a:gd name="T16" fmla="*/ 0 w 2456"/>
                  <a:gd name="T17" fmla="*/ 2147483647 h 2829"/>
                  <a:gd name="T18" fmla="*/ 2147483647 w 2456"/>
                  <a:gd name="T19" fmla="*/ 2147483647 h 2829"/>
                  <a:gd name="T20" fmla="*/ 2147483647 w 2456"/>
                  <a:gd name="T21" fmla="*/ 2147483647 h 2829"/>
                  <a:gd name="T22" fmla="*/ 2147483647 w 2456"/>
                  <a:gd name="T23" fmla="*/ 2147483647 h 2829"/>
                  <a:gd name="T24" fmla="*/ 2147483647 w 2456"/>
                  <a:gd name="T25" fmla="*/ 2147483647 h 2829"/>
                  <a:gd name="T26" fmla="*/ 2147483647 w 2456"/>
                  <a:gd name="T27" fmla="*/ 2147483647 h 2829"/>
                  <a:gd name="T28" fmla="*/ 2147483647 w 2456"/>
                  <a:gd name="T29" fmla="*/ 2147483647 h 2829"/>
                  <a:gd name="T30" fmla="*/ 2147483647 w 2456"/>
                  <a:gd name="T31" fmla="*/ 2147483647 h 2829"/>
                  <a:gd name="T32" fmla="*/ 2147483647 w 2456"/>
                  <a:gd name="T33" fmla="*/ 2147483647 h 2829"/>
                  <a:gd name="T34" fmla="*/ 2147483647 w 2456"/>
                  <a:gd name="T35" fmla="*/ 2147483647 h 2829"/>
                  <a:gd name="T36" fmla="*/ 2147483647 w 2456"/>
                  <a:gd name="T37" fmla="*/ 2147483647 h 2829"/>
                  <a:gd name="T38" fmla="*/ 2147483647 w 2456"/>
                  <a:gd name="T39" fmla="*/ 2147483647 h 2829"/>
                  <a:gd name="T40" fmla="*/ 2147483647 w 2456"/>
                  <a:gd name="T41" fmla="*/ 2147483647 h 2829"/>
                  <a:gd name="T42" fmla="*/ 2147483647 w 2456"/>
                  <a:gd name="T43" fmla="*/ 2147483647 h 2829"/>
                  <a:gd name="T44" fmla="*/ 2147483647 w 2456"/>
                  <a:gd name="T45" fmla="*/ 2147483647 h 2829"/>
                  <a:gd name="T46" fmla="*/ 2147483647 w 2456"/>
                  <a:gd name="T47" fmla="*/ 2147483647 h 2829"/>
                  <a:gd name="T48" fmla="*/ 2147483647 w 2456"/>
                  <a:gd name="T49" fmla="*/ 2147483647 h 2829"/>
                  <a:gd name="T50" fmla="*/ 2147483647 w 2456"/>
                  <a:gd name="T51" fmla="*/ 2147483647 h 2829"/>
                  <a:gd name="T52" fmla="*/ 2147483647 w 2456"/>
                  <a:gd name="T53" fmla="*/ 2147483647 h 2829"/>
                  <a:gd name="T54" fmla="*/ 2147483647 w 2456"/>
                  <a:gd name="T55" fmla="*/ 2147483647 h 2829"/>
                  <a:gd name="T56" fmla="*/ 2147483647 w 2456"/>
                  <a:gd name="T57" fmla="*/ 2147483647 h 2829"/>
                  <a:gd name="T58" fmla="*/ 2147483647 w 2456"/>
                  <a:gd name="T59" fmla="*/ 2147483647 h 2829"/>
                  <a:gd name="T60" fmla="*/ 2147483647 w 2456"/>
                  <a:gd name="T61" fmla="*/ 2147483647 h 2829"/>
                  <a:gd name="T62" fmla="*/ 2147483647 w 2456"/>
                  <a:gd name="T63" fmla="*/ 2147483647 h 2829"/>
                  <a:gd name="T64" fmla="*/ 2147483647 w 2456"/>
                  <a:gd name="T65" fmla="*/ 2147483647 h 2829"/>
                  <a:gd name="T66" fmla="*/ 2147483647 w 2456"/>
                  <a:gd name="T67" fmla="*/ 2147483647 h 2829"/>
                  <a:gd name="T68" fmla="*/ 2147483647 w 2456"/>
                  <a:gd name="T69" fmla="*/ 2147483647 h 2829"/>
                  <a:gd name="T70" fmla="*/ 2147483647 w 2456"/>
                  <a:gd name="T71" fmla="*/ 2147483647 h 2829"/>
                  <a:gd name="T72" fmla="*/ 2147483647 w 2456"/>
                  <a:gd name="T73" fmla="*/ 2147483647 h 2829"/>
                  <a:gd name="T74" fmla="*/ 2147483647 w 2456"/>
                  <a:gd name="T75" fmla="*/ 2147483647 h 2829"/>
                  <a:gd name="T76" fmla="*/ 2147483647 w 2456"/>
                  <a:gd name="T77" fmla="*/ 2147483647 h 2829"/>
                  <a:gd name="T78" fmla="*/ 2147483647 w 2456"/>
                  <a:gd name="T79" fmla="*/ 2147483647 h 2829"/>
                  <a:gd name="T80" fmla="*/ 2147483647 w 2456"/>
                  <a:gd name="T81" fmla="*/ 2147483647 h 2829"/>
                  <a:gd name="T82" fmla="*/ 2147483647 w 2456"/>
                  <a:gd name="T83" fmla="*/ 2147483647 h 2829"/>
                  <a:gd name="T84" fmla="*/ 2147483647 w 2456"/>
                  <a:gd name="T85" fmla="*/ 2147483647 h 2829"/>
                  <a:gd name="T86" fmla="*/ 2147483647 w 2456"/>
                  <a:gd name="T87" fmla="*/ 2147483647 h 2829"/>
                  <a:gd name="T88" fmla="*/ 2147483647 w 2456"/>
                  <a:gd name="T89" fmla="*/ 2147483647 h 2829"/>
                  <a:gd name="T90" fmla="*/ 2147483647 w 2456"/>
                  <a:gd name="T91" fmla="*/ 2147483647 h 2829"/>
                  <a:gd name="T92" fmla="*/ 2147483647 w 2456"/>
                  <a:gd name="T93" fmla="*/ 2147483647 h 2829"/>
                  <a:gd name="T94" fmla="*/ 2147483647 w 2456"/>
                  <a:gd name="T95" fmla="*/ 2147483647 h 2829"/>
                  <a:gd name="T96" fmla="*/ 2147483647 w 2456"/>
                  <a:gd name="T97" fmla="*/ 2147483647 h 2829"/>
                  <a:gd name="T98" fmla="*/ 2147483647 w 2456"/>
                  <a:gd name="T99" fmla="*/ 2147483647 h 2829"/>
                  <a:gd name="T100" fmla="*/ 2147483647 w 2456"/>
                  <a:gd name="T101" fmla="*/ 2147483647 h 282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456" h="2829">
                    <a:moveTo>
                      <a:pt x="1916" y="1497"/>
                    </a:moveTo>
                    <a:lnTo>
                      <a:pt x="1916" y="1617"/>
                    </a:lnTo>
                    <a:lnTo>
                      <a:pt x="1409" y="1497"/>
                    </a:lnTo>
                    <a:lnTo>
                      <a:pt x="1409" y="1617"/>
                    </a:lnTo>
                    <a:lnTo>
                      <a:pt x="1195" y="1617"/>
                    </a:lnTo>
                    <a:lnTo>
                      <a:pt x="1195" y="1337"/>
                    </a:lnTo>
                    <a:lnTo>
                      <a:pt x="1051" y="1337"/>
                    </a:lnTo>
                    <a:lnTo>
                      <a:pt x="1051" y="1200"/>
                    </a:lnTo>
                    <a:lnTo>
                      <a:pt x="784" y="1200"/>
                    </a:lnTo>
                    <a:lnTo>
                      <a:pt x="784" y="279"/>
                    </a:lnTo>
                    <a:lnTo>
                      <a:pt x="744" y="279"/>
                    </a:lnTo>
                    <a:lnTo>
                      <a:pt x="744" y="193"/>
                    </a:lnTo>
                    <a:lnTo>
                      <a:pt x="770" y="193"/>
                    </a:lnTo>
                    <a:lnTo>
                      <a:pt x="770" y="91"/>
                    </a:lnTo>
                    <a:lnTo>
                      <a:pt x="700" y="91"/>
                    </a:lnTo>
                    <a:lnTo>
                      <a:pt x="700" y="0"/>
                    </a:lnTo>
                    <a:lnTo>
                      <a:pt x="506" y="0"/>
                    </a:lnTo>
                    <a:lnTo>
                      <a:pt x="506" y="91"/>
                    </a:lnTo>
                    <a:lnTo>
                      <a:pt x="436" y="91"/>
                    </a:lnTo>
                    <a:lnTo>
                      <a:pt x="436" y="193"/>
                    </a:lnTo>
                    <a:lnTo>
                      <a:pt x="462" y="193"/>
                    </a:lnTo>
                    <a:lnTo>
                      <a:pt x="462" y="279"/>
                    </a:lnTo>
                    <a:lnTo>
                      <a:pt x="422" y="279"/>
                    </a:lnTo>
                    <a:lnTo>
                      <a:pt x="422" y="1200"/>
                    </a:lnTo>
                    <a:lnTo>
                      <a:pt x="156" y="1200"/>
                    </a:lnTo>
                    <a:lnTo>
                      <a:pt x="156" y="1337"/>
                    </a:lnTo>
                    <a:lnTo>
                      <a:pt x="0" y="1337"/>
                    </a:lnTo>
                    <a:lnTo>
                      <a:pt x="0" y="2829"/>
                    </a:lnTo>
                    <a:lnTo>
                      <a:pt x="2456" y="2829"/>
                    </a:lnTo>
                    <a:lnTo>
                      <a:pt x="2456" y="1617"/>
                    </a:lnTo>
                    <a:lnTo>
                      <a:pt x="1916" y="1497"/>
                    </a:lnTo>
                    <a:close/>
                    <a:moveTo>
                      <a:pt x="204" y="1773"/>
                    </a:moveTo>
                    <a:lnTo>
                      <a:pt x="422" y="1773"/>
                    </a:lnTo>
                    <a:lnTo>
                      <a:pt x="538" y="1773"/>
                    </a:lnTo>
                    <a:lnTo>
                      <a:pt x="538" y="1877"/>
                    </a:lnTo>
                    <a:lnTo>
                      <a:pt x="422" y="1877"/>
                    </a:lnTo>
                    <a:lnTo>
                      <a:pt x="204" y="1877"/>
                    </a:lnTo>
                    <a:lnTo>
                      <a:pt x="204" y="1773"/>
                    </a:lnTo>
                    <a:close/>
                    <a:moveTo>
                      <a:pt x="538" y="1645"/>
                    </a:moveTo>
                    <a:lnTo>
                      <a:pt x="422" y="1645"/>
                    </a:lnTo>
                    <a:lnTo>
                      <a:pt x="204" y="1645"/>
                    </a:lnTo>
                    <a:lnTo>
                      <a:pt x="204" y="1541"/>
                    </a:lnTo>
                    <a:lnTo>
                      <a:pt x="422" y="1541"/>
                    </a:lnTo>
                    <a:lnTo>
                      <a:pt x="538" y="1541"/>
                    </a:lnTo>
                    <a:lnTo>
                      <a:pt x="538" y="1645"/>
                    </a:lnTo>
                    <a:close/>
                    <a:moveTo>
                      <a:pt x="538" y="2575"/>
                    </a:moveTo>
                    <a:lnTo>
                      <a:pt x="204" y="2575"/>
                    </a:lnTo>
                    <a:lnTo>
                      <a:pt x="204" y="2472"/>
                    </a:lnTo>
                    <a:lnTo>
                      <a:pt x="538" y="2472"/>
                    </a:lnTo>
                    <a:lnTo>
                      <a:pt x="538" y="2575"/>
                    </a:lnTo>
                    <a:close/>
                    <a:moveTo>
                      <a:pt x="538" y="2342"/>
                    </a:moveTo>
                    <a:lnTo>
                      <a:pt x="204" y="2342"/>
                    </a:lnTo>
                    <a:lnTo>
                      <a:pt x="204" y="2240"/>
                    </a:lnTo>
                    <a:lnTo>
                      <a:pt x="538" y="2240"/>
                    </a:lnTo>
                    <a:lnTo>
                      <a:pt x="538" y="2342"/>
                    </a:lnTo>
                    <a:close/>
                    <a:moveTo>
                      <a:pt x="538" y="2110"/>
                    </a:moveTo>
                    <a:lnTo>
                      <a:pt x="204" y="2110"/>
                    </a:lnTo>
                    <a:lnTo>
                      <a:pt x="204" y="2008"/>
                    </a:lnTo>
                    <a:lnTo>
                      <a:pt x="422" y="2008"/>
                    </a:lnTo>
                    <a:lnTo>
                      <a:pt x="538" y="2008"/>
                    </a:lnTo>
                    <a:lnTo>
                      <a:pt x="538" y="2082"/>
                    </a:lnTo>
                    <a:lnTo>
                      <a:pt x="538" y="2110"/>
                    </a:lnTo>
                    <a:close/>
                    <a:moveTo>
                      <a:pt x="989" y="2575"/>
                    </a:moveTo>
                    <a:lnTo>
                      <a:pt x="652" y="2575"/>
                    </a:lnTo>
                    <a:lnTo>
                      <a:pt x="652" y="2472"/>
                    </a:lnTo>
                    <a:lnTo>
                      <a:pt x="989" y="2472"/>
                    </a:lnTo>
                    <a:lnTo>
                      <a:pt x="989" y="2575"/>
                    </a:lnTo>
                    <a:close/>
                    <a:moveTo>
                      <a:pt x="989" y="2342"/>
                    </a:moveTo>
                    <a:lnTo>
                      <a:pt x="652" y="2342"/>
                    </a:lnTo>
                    <a:lnTo>
                      <a:pt x="652" y="2240"/>
                    </a:lnTo>
                    <a:lnTo>
                      <a:pt x="989" y="2240"/>
                    </a:lnTo>
                    <a:lnTo>
                      <a:pt x="989" y="2342"/>
                    </a:lnTo>
                    <a:close/>
                    <a:moveTo>
                      <a:pt x="989" y="2110"/>
                    </a:moveTo>
                    <a:lnTo>
                      <a:pt x="652" y="2110"/>
                    </a:lnTo>
                    <a:lnTo>
                      <a:pt x="652" y="2082"/>
                    </a:lnTo>
                    <a:lnTo>
                      <a:pt x="652" y="2008"/>
                    </a:lnTo>
                    <a:lnTo>
                      <a:pt x="784" y="2008"/>
                    </a:lnTo>
                    <a:lnTo>
                      <a:pt x="989" y="2008"/>
                    </a:lnTo>
                    <a:lnTo>
                      <a:pt x="989" y="2110"/>
                    </a:lnTo>
                    <a:close/>
                    <a:moveTo>
                      <a:pt x="989" y="1877"/>
                    </a:moveTo>
                    <a:lnTo>
                      <a:pt x="784" y="1877"/>
                    </a:lnTo>
                    <a:lnTo>
                      <a:pt x="652" y="1877"/>
                    </a:lnTo>
                    <a:lnTo>
                      <a:pt x="652" y="1773"/>
                    </a:lnTo>
                    <a:lnTo>
                      <a:pt x="784" y="1773"/>
                    </a:lnTo>
                    <a:lnTo>
                      <a:pt x="989" y="1773"/>
                    </a:lnTo>
                    <a:lnTo>
                      <a:pt x="989" y="1877"/>
                    </a:lnTo>
                    <a:close/>
                    <a:moveTo>
                      <a:pt x="989" y="1645"/>
                    </a:moveTo>
                    <a:lnTo>
                      <a:pt x="784" y="1645"/>
                    </a:lnTo>
                    <a:lnTo>
                      <a:pt x="652" y="1645"/>
                    </a:lnTo>
                    <a:lnTo>
                      <a:pt x="652" y="1541"/>
                    </a:lnTo>
                    <a:lnTo>
                      <a:pt x="784" y="1541"/>
                    </a:lnTo>
                    <a:lnTo>
                      <a:pt x="989" y="1541"/>
                    </a:lnTo>
                    <a:lnTo>
                      <a:pt x="989" y="1645"/>
                    </a:lnTo>
                    <a:close/>
                    <a:moveTo>
                      <a:pt x="1445" y="2583"/>
                    </a:moveTo>
                    <a:lnTo>
                      <a:pt x="1239" y="2583"/>
                    </a:lnTo>
                    <a:lnTo>
                      <a:pt x="1239" y="2426"/>
                    </a:lnTo>
                    <a:lnTo>
                      <a:pt x="1445" y="2426"/>
                    </a:lnTo>
                    <a:lnTo>
                      <a:pt x="1445" y="2583"/>
                    </a:lnTo>
                    <a:close/>
                    <a:moveTo>
                      <a:pt x="1445" y="2324"/>
                    </a:moveTo>
                    <a:lnTo>
                      <a:pt x="1239" y="2324"/>
                    </a:lnTo>
                    <a:lnTo>
                      <a:pt x="1239" y="2168"/>
                    </a:lnTo>
                    <a:lnTo>
                      <a:pt x="1445" y="2168"/>
                    </a:lnTo>
                    <a:lnTo>
                      <a:pt x="1445" y="2324"/>
                    </a:lnTo>
                    <a:close/>
                    <a:moveTo>
                      <a:pt x="1445" y="2066"/>
                    </a:moveTo>
                    <a:lnTo>
                      <a:pt x="1239" y="2066"/>
                    </a:lnTo>
                    <a:lnTo>
                      <a:pt x="1239" y="1909"/>
                    </a:lnTo>
                    <a:lnTo>
                      <a:pt x="1445" y="1909"/>
                    </a:lnTo>
                    <a:lnTo>
                      <a:pt x="1445" y="2066"/>
                    </a:lnTo>
                    <a:close/>
                    <a:moveTo>
                      <a:pt x="1744" y="2583"/>
                    </a:moveTo>
                    <a:lnTo>
                      <a:pt x="1539" y="2583"/>
                    </a:lnTo>
                    <a:lnTo>
                      <a:pt x="1539" y="2426"/>
                    </a:lnTo>
                    <a:lnTo>
                      <a:pt x="1744" y="2426"/>
                    </a:lnTo>
                    <a:lnTo>
                      <a:pt x="1744" y="2583"/>
                    </a:lnTo>
                    <a:close/>
                    <a:moveTo>
                      <a:pt x="1744" y="2324"/>
                    </a:moveTo>
                    <a:lnTo>
                      <a:pt x="1539" y="2324"/>
                    </a:lnTo>
                    <a:lnTo>
                      <a:pt x="1539" y="2168"/>
                    </a:lnTo>
                    <a:lnTo>
                      <a:pt x="1744" y="2168"/>
                    </a:lnTo>
                    <a:lnTo>
                      <a:pt x="1744" y="2324"/>
                    </a:lnTo>
                    <a:close/>
                    <a:moveTo>
                      <a:pt x="1744" y="2066"/>
                    </a:moveTo>
                    <a:lnTo>
                      <a:pt x="1539" y="2066"/>
                    </a:lnTo>
                    <a:lnTo>
                      <a:pt x="1539" y="1909"/>
                    </a:lnTo>
                    <a:lnTo>
                      <a:pt x="1744" y="1909"/>
                    </a:lnTo>
                    <a:lnTo>
                      <a:pt x="1744" y="2066"/>
                    </a:lnTo>
                    <a:close/>
                    <a:moveTo>
                      <a:pt x="2044" y="2583"/>
                    </a:moveTo>
                    <a:lnTo>
                      <a:pt x="1840" y="2583"/>
                    </a:lnTo>
                    <a:lnTo>
                      <a:pt x="1840" y="2426"/>
                    </a:lnTo>
                    <a:lnTo>
                      <a:pt x="2044" y="2426"/>
                    </a:lnTo>
                    <a:lnTo>
                      <a:pt x="2044" y="2583"/>
                    </a:lnTo>
                    <a:close/>
                    <a:moveTo>
                      <a:pt x="2044" y="2324"/>
                    </a:moveTo>
                    <a:lnTo>
                      <a:pt x="1840" y="2324"/>
                    </a:lnTo>
                    <a:lnTo>
                      <a:pt x="1840" y="2168"/>
                    </a:lnTo>
                    <a:lnTo>
                      <a:pt x="2044" y="2168"/>
                    </a:lnTo>
                    <a:lnTo>
                      <a:pt x="2044" y="2324"/>
                    </a:lnTo>
                    <a:close/>
                    <a:moveTo>
                      <a:pt x="2044" y="2066"/>
                    </a:moveTo>
                    <a:lnTo>
                      <a:pt x="1840" y="2066"/>
                    </a:lnTo>
                    <a:lnTo>
                      <a:pt x="1840" y="1909"/>
                    </a:lnTo>
                    <a:lnTo>
                      <a:pt x="2044" y="1909"/>
                    </a:lnTo>
                    <a:lnTo>
                      <a:pt x="2044" y="2066"/>
                    </a:lnTo>
                    <a:close/>
                    <a:moveTo>
                      <a:pt x="2344" y="2583"/>
                    </a:moveTo>
                    <a:lnTo>
                      <a:pt x="2140" y="2583"/>
                    </a:lnTo>
                    <a:lnTo>
                      <a:pt x="2140" y="2426"/>
                    </a:lnTo>
                    <a:lnTo>
                      <a:pt x="2344" y="2426"/>
                    </a:lnTo>
                    <a:lnTo>
                      <a:pt x="2344" y="2583"/>
                    </a:lnTo>
                    <a:close/>
                    <a:moveTo>
                      <a:pt x="2344" y="2324"/>
                    </a:moveTo>
                    <a:lnTo>
                      <a:pt x="2140" y="2324"/>
                    </a:lnTo>
                    <a:lnTo>
                      <a:pt x="2140" y="2168"/>
                    </a:lnTo>
                    <a:lnTo>
                      <a:pt x="2344" y="2168"/>
                    </a:lnTo>
                    <a:lnTo>
                      <a:pt x="2344" y="2324"/>
                    </a:lnTo>
                    <a:close/>
                    <a:moveTo>
                      <a:pt x="2344" y="2066"/>
                    </a:moveTo>
                    <a:lnTo>
                      <a:pt x="2140" y="2066"/>
                    </a:lnTo>
                    <a:lnTo>
                      <a:pt x="2140" y="1909"/>
                    </a:lnTo>
                    <a:lnTo>
                      <a:pt x="2344" y="1909"/>
                    </a:lnTo>
                    <a:lnTo>
                      <a:pt x="2344" y="2066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A5A6A9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636" dirty="0"/>
              </a:p>
            </p:txBody>
          </p:sp>
          <p:sp>
            <p:nvSpPr>
              <p:cNvPr id="292" name="Freeform 64"/>
              <p:cNvSpPr>
                <a:spLocks/>
              </p:cNvSpPr>
              <p:nvPr/>
            </p:nvSpPr>
            <p:spPr bwMode="auto">
              <a:xfrm>
                <a:off x="1379538" y="7466012"/>
                <a:ext cx="2193925" cy="1344613"/>
              </a:xfrm>
              <a:custGeom>
                <a:avLst/>
                <a:gdLst>
                  <a:gd name="T0" fmla="*/ 2147483647 w 690"/>
                  <a:gd name="T1" fmla="*/ 2147483647 h 423"/>
                  <a:gd name="T2" fmla="*/ 2147483647 w 690"/>
                  <a:gd name="T3" fmla="*/ 2147483647 h 423"/>
                  <a:gd name="T4" fmla="*/ 2147483647 w 690"/>
                  <a:gd name="T5" fmla="*/ 2147483647 h 423"/>
                  <a:gd name="T6" fmla="*/ 2147483647 w 690"/>
                  <a:gd name="T7" fmla="*/ 2147483647 h 423"/>
                  <a:gd name="T8" fmla="*/ 2147483647 w 690"/>
                  <a:gd name="T9" fmla="*/ 2147483647 h 423"/>
                  <a:gd name="T10" fmla="*/ 2147483647 w 690"/>
                  <a:gd name="T11" fmla="*/ 2147483647 h 423"/>
                  <a:gd name="T12" fmla="*/ 2147483647 w 690"/>
                  <a:gd name="T13" fmla="*/ 0 h 423"/>
                  <a:gd name="T14" fmla="*/ 2147483647 w 690"/>
                  <a:gd name="T15" fmla="*/ 2147483647 h 423"/>
                  <a:gd name="T16" fmla="*/ 2147483647 w 690"/>
                  <a:gd name="T17" fmla="*/ 2147483647 h 423"/>
                  <a:gd name="T18" fmla="*/ 2147483647 w 690"/>
                  <a:gd name="T19" fmla="*/ 2147483647 h 423"/>
                  <a:gd name="T20" fmla="*/ 2147483647 w 690"/>
                  <a:gd name="T21" fmla="*/ 2147483647 h 423"/>
                  <a:gd name="T22" fmla="*/ 2147483647 w 690"/>
                  <a:gd name="T23" fmla="*/ 2147483647 h 423"/>
                  <a:gd name="T24" fmla="*/ 0 w 690"/>
                  <a:gd name="T25" fmla="*/ 2147483647 h 423"/>
                  <a:gd name="T26" fmla="*/ 2147483647 w 690"/>
                  <a:gd name="T27" fmla="*/ 2147483647 h 42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90" h="423">
                    <a:moveTo>
                      <a:pt x="117" y="423"/>
                    </a:moveTo>
                    <a:cubicBezTo>
                      <a:pt x="170" y="423"/>
                      <a:pt x="215" y="393"/>
                      <a:pt x="229" y="352"/>
                    </a:cubicBezTo>
                    <a:cubicBezTo>
                      <a:pt x="242" y="355"/>
                      <a:pt x="254" y="357"/>
                      <a:pt x="268" y="357"/>
                    </a:cubicBezTo>
                    <a:cubicBezTo>
                      <a:pt x="317" y="357"/>
                      <a:pt x="361" y="332"/>
                      <a:pt x="387" y="296"/>
                    </a:cubicBezTo>
                    <a:cubicBezTo>
                      <a:pt x="418" y="313"/>
                      <a:pt x="455" y="323"/>
                      <a:pt x="496" y="323"/>
                    </a:cubicBezTo>
                    <a:cubicBezTo>
                      <a:pt x="603" y="323"/>
                      <a:pt x="690" y="251"/>
                      <a:pt x="690" y="162"/>
                    </a:cubicBezTo>
                    <a:cubicBezTo>
                      <a:pt x="690" y="73"/>
                      <a:pt x="603" y="0"/>
                      <a:pt x="496" y="0"/>
                    </a:cubicBezTo>
                    <a:cubicBezTo>
                      <a:pt x="420" y="0"/>
                      <a:pt x="354" y="36"/>
                      <a:pt x="322" y="89"/>
                    </a:cubicBezTo>
                    <a:cubicBezTo>
                      <a:pt x="305" y="82"/>
                      <a:pt x="287" y="78"/>
                      <a:pt x="268" y="78"/>
                    </a:cubicBezTo>
                    <a:cubicBezTo>
                      <a:pt x="188" y="78"/>
                      <a:pt x="123" y="141"/>
                      <a:pt x="123" y="217"/>
                    </a:cubicBezTo>
                    <a:cubicBezTo>
                      <a:pt x="123" y="219"/>
                      <a:pt x="123" y="221"/>
                      <a:pt x="123" y="223"/>
                    </a:cubicBezTo>
                    <a:cubicBezTo>
                      <a:pt x="121" y="223"/>
                      <a:pt x="119" y="223"/>
                      <a:pt x="117" y="223"/>
                    </a:cubicBezTo>
                    <a:cubicBezTo>
                      <a:pt x="53" y="223"/>
                      <a:pt x="0" y="268"/>
                      <a:pt x="0" y="323"/>
                    </a:cubicBezTo>
                    <a:cubicBezTo>
                      <a:pt x="0" y="378"/>
                      <a:pt x="53" y="423"/>
                      <a:pt x="117" y="423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A5A6A9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636" dirty="0"/>
              </a:p>
            </p:txBody>
          </p:sp>
        </p:grpSp>
      </p:grpSp>
      <p:sp>
        <p:nvSpPr>
          <p:cNvPr id="293" name="Freeform 31"/>
          <p:cNvSpPr>
            <a:spLocks/>
          </p:cNvSpPr>
          <p:nvPr/>
        </p:nvSpPr>
        <p:spPr bwMode="gray">
          <a:xfrm rot="18546418">
            <a:off x="3273968" y="2346171"/>
            <a:ext cx="1292598" cy="1120547"/>
          </a:xfrm>
          <a:custGeom>
            <a:avLst/>
            <a:gdLst>
              <a:gd name="T0" fmla="*/ 152443 w 3884"/>
              <a:gd name="T1" fmla="*/ 534715 h 1600"/>
              <a:gd name="T2" fmla="*/ 1185665 w 3884"/>
              <a:gd name="T3" fmla="*/ 575236 h 1600"/>
              <a:gd name="T4" fmla="*/ 1955577 w 3884"/>
              <a:gd name="T5" fmla="*/ 351180 h 1600"/>
              <a:gd name="T6" fmla="*/ 998319 w 3884"/>
              <a:gd name="T7" fmla="*/ 54425 h 1600"/>
              <a:gd name="T8" fmla="*/ 37982 w 3884"/>
              <a:gd name="T9" fmla="*/ 287618 h 1600"/>
              <a:gd name="T10" fmla="*/ 400868 w 3884"/>
              <a:gd name="T11" fmla="*/ 425865 h 1600"/>
              <a:gd name="T12" fmla="*/ 0 w 3884"/>
              <a:gd name="T13" fmla="*/ 287618 h 1600"/>
              <a:gd name="T14" fmla="*/ 1001399 w 3884"/>
              <a:gd name="T15" fmla="*/ 27014 h 1600"/>
              <a:gd name="T16" fmla="*/ 1990479 w 3884"/>
              <a:gd name="T17" fmla="*/ 351180 h 1600"/>
              <a:gd name="T18" fmla="*/ 1168213 w 3884"/>
              <a:gd name="T19" fmla="*/ 605031 h 1600"/>
              <a:gd name="T20" fmla="*/ 152443 w 3884"/>
              <a:gd name="T21" fmla="*/ 534715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  <a:gd name="connsiteX0" fmla="*/ 657 w 10000"/>
              <a:gd name="connsiteY0" fmla="*/ 7337 h 9821"/>
              <a:gd name="connsiteX1" fmla="*/ 5947 w 10000"/>
              <a:gd name="connsiteY1" fmla="*/ 9050 h 9821"/>
              <a:gd name="connsiteX2" fmla="*/ 9809 w 10000"/>
              <a:gd name="connsiteY2" fmla="*/ 5525 h 9821"/>
              <a:gd name="connsiteX3" fmla="*/ 5008 w 10000"/>
              <a:gd name="connsiteY3" fmla="*/ 856 h 9821"/>
              <a:gd name="connsiteX4" fmla="*/ 191 w 10000"/>
              <a:gd name="connsiteY4" fmla="*/ 4525 h 9821"/>
              <a:gd name="connsiteX5" fmla="*/ 2011 w 10000"/>
              <a:gd name="connsiteY5" fmla="*/ 6700 h 9821"/>
              <a:gd name="connsiteX6" fmla="*/ 0 w 10000"/>
              <a:gd name="connsiteY6" fmla="*/ 4525 h 9821"/>
              <a:gd name="connsiteX7" fmla="*/ 5023 w 10000"/>
              <a:gd name="connsiteY7" fmla="*/ 425 h 9821"/>
              <a:gd name="connsiteX8" fmla="*/ 9985 w 10000"/>
              <a:gd name="connsiteY8" fmla="*/ 5525 h 9821"/>
              <a:gd name="connsiteX9" fmla="*/ 5860 w 10000"/>
              <a:gd name="connsiteY9" fmla="*/ 9519 h 9821"/>
              <a:gd name="connsiteX10" fmla="*/ 657 w 10000"/>
              <a:gd name="connsiteY10" fmla="*/ 7337 h 9821"/>
              <a:gd name="connsiteX0" fmla="*/ 414 w 10000"/>
              <a:gd name="connsiteY0" fmla="*/ 6964 h 9915"/>
              <a:gd name="connsiteX1" fmla="*/ 5947 w 10000"/>
              <a:gd name="connsiteY1" fmla="*/ 9215 h 9915"/>
              <a:gd name="connsiteX2" fmla="*/ 9809 w 10000"/>
              <a:gd name="connsiteY2" fmla="*/ 5626 h 9915"/>
              <a:gd name="connsiteX3" fmla="*/ 5008 w 10000"/>
              <a:gd name="connsiteY3" fmla="*/ 872 h 9915"/>
              <a:gd name="connsiteX4" fmla="*/ 191 w 10000"/>
              <a:gd name="connsiteY4" fmla="*/ 4607 h 9915"/>
              <a:gd name="connsiteX5" fmla="*/ 2011 w 10000"/>
              <a:gd name="connsiteY5" fmla="*/ 6822 h 9915"/>
              <a:gd name="connsiteX6" fmla="*/ 0 w 10000"/>
              <a:gd name="connsiteY6" fmla="*/ 4607 h 9915"/>
              <a:gd name="connsiteX7" fmla="*/ 5023 w 10000"/>
              <a:gd name="connsiteY7" fmla="*/ 433 h 9915"/>
              <a:gd name="connsiteX8" fmla="*/ 9985 w 10000"/>
              <a:gd name="connsiteY8" fmla="*/ 5626 h 9915"/>
              <a:gd name="connsiteX9" fmla="*/ 5860 w 10000"/>
              <a:gd name="connsiteY9" fmla="*/ 9692 h 9915"/>
              <a:gd name="connsiteX10" fmla="*/ 414 w 10000"/>
              <a:gd name="connsiteY10" fmla="*/ 6964 h 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000" h="9915">
                <a:moveTo>
                  <a:pt x="414" y="6964"/>
                </a:moveTo>
                <a:cubicBezTo>
                  <a:pt x="2013" y="8090"/>
                  <a:pt x="4444" y="9756"/>
                  <a:pt x="5947" y="9215"/>
                </a:cubicBezTo>
                <a:cubicBezTo>
                  <a:pt x="8046" y="8490"/>
                  <a:pt x="9779" y="7586"/>
                  <a:pt x="9809" y="5626"/>
                </a:cubicBezTo>
                <a:cubicBezTo>
                  <a:pt x="9840" y="3666"/>
                  <a:pt x="8018" y="1298"/>
                  <a:pt x="5008" y="872"/>
                </a:cubicBezTo>
                <a:cubicBezTo>
                  <a:pt x="1661" y="401"/>
                  <a:pt x="191" y="3589"/>
                  <a:pt x="191" y="4607"/>
                </a:cubicBezTo>
                <a:cubicBezTo>
                  <a:pt x="191" y="5626"/>
                  <a:pt x="1014" y="6568"/>
                  <a:pt x="2011" y="6822"/>
                </a:cubicBezTo>
                <a:cubicBezTo>
                  <a:pt x="721" y="7223"/>
                  <a:pt x="0" y="5804"/>
                  <a:pt x="0" y="4607"/>
                </a:cubicBezTo>
                <a:cubicBezTo>
                  <a:pt x="0" y="3411"/>
                  <a:pt x="1218" y="0"/>
                  <a:pt x="5023" y="433"/>
                </a:cubicBezTo>
                <a:cubicBezTo>
                  <a:pt x="7371" y="701"/>
                  <a:pt x="10000" y="2755"/>
                  <a:pt x="9985" y="5626"/>
                </a:cubicBezTo>
                <a:cubicBezTo>
                  <a:pt x="9969" y="8496"/>
                  <a:pt x="7455" y="9469"/>
                  <a:pt x="5860" y="9692"/>
                </a:cubicBezTo>
                <a:cubicBezTo>
                  <a:pt x="4265" y="9915"/>
                  <a:pt x="1073" y="8452"/>
                  <a:pt x="414" y="6964"/>
                </a:cubicBezTo>
                <a:close/>
              </a:path>
            </a:pathLst>
          </a:custGeom>
          <a:solidFill>
            <a:srgbClr val="339933"/>
          </a:solidFill>
          <a:ln w="9525">
            <a:solidFill>
              <a:srgbClr val="339933"/>
            </a:solidFill>
            <a:round/>
            <a:headEnd/>
            <a:tailEnd/>
          </a:ln>
        </p:spPr>
        <p:txBody>
          <a:bodyPr lIns="82993" tIns="82993" rIns="82993" bIns="82993" anchor="ctr"/>
          <a:lstStyle/>
          <a:p>
            <a:endParaRPr lang="en-GB" sz="1636" dirty="0"/>
          </a:p>
        </p:txBody>
      </p:sp>
      <p:sp>
        <p:nvSpPr>
          <p:cNvPr id="294" name="TextBox 293"/>
          <p:cNvSpPr txBox="1"/>
          <p:nvPr/>
        </p:nvSpPr>
        <p:spPr>
          <a:xfrm>
            <a:off x="2390556" y="3325723"/>
            <a:ext cx="1491954" cy="335538"/>
          </a:xfrm>
          <a:prstGeom prst="rect">
            <a:avLst/>
          </a:prstGeom>
          <a:noFill/>
        </p:spPr>
        <p:txBody>
          <a:bodyPr wrap="square" lIns="82993" tIns="41496" rIns="82993" bIns="41496" rtlCol="0">
            <a:spAutoFit/>
          </a:bodyPr>
          <a:lstStyle/>
          <a:p>
            <a:pPr algn="ctr"/>
            <a:r>
              <a:rPr lang="ru-RU" sz="1636" dirty="0">
                <a:solidFill>
                  <a:srgbClr val="000000">
                    <a:lumMod val="50000"/>
                    <a:lumOff val="50000"/>
                  </a:srgbClr>
                </a:solidFill>
              </a:rPr>
              <a:t>Россия</a:t>
            </a:r>
            <a:endParaRPr lang="en-US" sz="1636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95" name="TextBox 294"/>
          <p:cNvSpPr txBox="1"/>
          <p:nvPr/>
        </p:nvSpPr>
        <p:spPr>
          <a:xfrm>
            <a:off x="3162006" y="1726998"/>
            <a:ext cx="1532807" cy="391579"/>
          </a:xfrm>
          <a:prstGeom prst="rect">
            <a:avLst/>
          </a:prstGeom>
          <a:noFill/>
        </p:spPr>
        <p:txBody>
          <a:bodyPr wrap="square" lIns="82993" tIns="41496" rIns="82993" bIns="41496" rtlCol="0">
            <a:spAutoFit/>
          </a:bodyPr>
          <a:lstStyle/>
          <a:p>
            <a:pPr algn="ctr"/>
            <a:r>
              <a:rPr lang="ru-RU" sz="1000" b="1" dirty="0">
                <a:solidFill>
                  <a:srgbClr val="000000"/>
                </a:solidFill>
              </a:rPr>
              <a:t>Заполярный </a:t>
            </a:r>
          </a:p>
          <a:p>
            <a:pPr algn="ctr"/>
            <a:r>
              <a:rPr lang="ru-RU" sz="1000" b="1" dirty="0">
                <a:solidFill>
                  <a:srgbClr val="000000"/>
                </a:solidFill>
              </a:rPr>
              <a:t>филиал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296" name="Freeform 31"/>
          <p:cNvSpPr>
            <a:spLocks/>
          </p:cNvSpPr>
          <p:nvPr/>
        </p:nvSpPr>
        <p:spPr bwMode="gray">
          <a:xfrm rot="17548877">
            <a:off x="881524" y="2784582"/>
            <a:ext cx="1660784" cy="991705"/>
          </a:xfrm>
          <a:custGeom>
            <a:avLst/>
            <a:gdLst>
              <a:gd name="T0" fmla="*/ 152443 w 3884"/>
              <a:gd name="T1" fmla="*/ 534715 h 1600"/>
              <a:gd name="T2" fmla="*/ 1185665 w 3884"/>
              <a:gd name="T3" fmla="*/ 575236 h 1600"/>
              <a:gd name="T4" fmla="*/ 1955577 w 3884"/>
              <a:gd name="T5" fmla="*/ 351180 h 1600"/>
              <a:gd name="T6" fmla="*/ 998319 w 3884"/>
              <a:gd name="T7" fmla="*/ 54425 h 1600"/>
              <a:gd name="T8" fmla="*/ 37982 w 3884"/>
              <a:gd name="T9" fmla="*/ 287618 h 1600"/>
              <a:gd name="T10" fmla="*/ 400868 w 3884"/>
              <a:gd name="T11" fmla="*/ 425865 h 1600"/>
              <a:gd name="T12" fmla="*/ 0 w 3884"/>
              <a:gd name="T13" fmla="*/ 287618 h 1600"/>
              <a:gd name="T14" fmla="*/ 1001399 w 3884"/>
              <a:gd name="T15" fmla="*/ 27014 h 1600"/>
              <a:gd name="T16" fmla="*/ 1990479 w 3884"/>
              <a:gd name="T17" fmla="*/ 351180 h 1600"/>
              <a:gd name="T18" fmla="*/ 1168213 w 3884"/>
              <a:gd name="T19" fmla="*/ 605031 h 1600"/>
              <a:gd name="T20" fmla="*/ 152443 w 3884"/>
              <a:gd name="T21" fmla="*/ 534715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  <a:gd name="connsiteX0" fmla="*/ 657 w 10000"/>
              <a:gd name="connsiteY0" fmla="*/ 7337 h 9821"/>
              <a:gd name="connsiteX1" fmla="*/ 5947 w 10000"/>
              <a:gd name="connsiteY1" fmla="*/ 9050 h 9821"/>
              <a:gd name="connsiteX2" fmla="*/ 9809 w 10000"/>
              <a:gd name="connsiteY2" fmla="*/ 5525 h 9821"/>
              <a:gd name="connsiteX3" fmla="*/ 5008 w 10000"/>
              <a:gd name="connsiteY3" fmla="*/ 856 h 9821"/>
              <a:gd name="connsiteX4" fmla="*/ 191 w 10000"/>
              <a:gd name="connsiteY4" fmla="*/ 4525 h 9821"/>
              <a:gd name="connsiteX5" fmla="*/ 2011 w 10000"/>
              <a:gd name="connsiteY5" fmla="*/ 6700 h 9821"/>
              <a:gd name="connsiteX6" fmla="*/ 0 w 10000"/>
              <a:gd name="connsiteY6" fmla="*/ 4525 h 9821"/>
              <a:gd name="connsiteX7" fmla="*/ 5023 w 10000"/>
              <a:gd name="connsiteY7" fmla="*/ 425 h 9821"/>
              <a:gd name="connsiteX8" fmla="*/ 9985 w 10000"/>
              <a:gd name="connsiteY8" fmla="*/ 5525 h 9821"/>
              <a:gd name="connsiteX9" fmla="*/ 5860 w 10000"/>
              <a:gd name="connsiteY9" fmla="*/ 9519 h 9821"/>
              <a:gd name="connsiteX10" fmla="*/ 657 w 10000"/>
              <a:gd name="connsiteY10" fmla="*/ 7337 h 9821"/>
              <a:gd name="connsiteX0" fmla="*/ 414 w 10000"/>
              <a:gd name="connsiteY0" fmla="*/ 6964 h 9915"/>
              <a:gd name="connsiteX1" fmla="*/ 5947 w 10000"/>
              <a:gd name="connsiteY1" fmla="*/ 9215 h 9915"/>
              <a:gd name="connsiteX2" fmla="*/ 9809 w 10000"/>
              <a:gd name="connsiteY2" fmla="*/ 5626 h 9915"/>
              <a:gd name="connsiteX3" fmla="*/ 5008 w 10000"/>
              <a:gd name="connsiteY3" fmla="*/ 872 h 9915"/>
              <a:gd name="connsiteX4" fmla="*/ 191 w 10000"/>
              <a:gd name="connsiteY4" fmla="*/ 4607 h 9915"/>
              <a:gd name="connsiteX5" fmla="*/ 2011 w 10000"/>
              <a:gd name="connsiteY5" fmla="*/ 6822 h 9915"/>
              <a:gd name="connsiteX6" fmla="*/ 0 w 10000"/>
              <a:gd name="connsiteY6" fmla="*/ 4607 h 9915"/>
              <a:gd name="connsiteX7" fmla="*/ 5023 w 10000"/>
              <a:gd name="connsiteY7" fmla="*/ 433 h 9915"/>
              <a:gd name="connsiteX8" fmla="*/ 9985 w 10000"/>
              <a:gd name="connsiteY8" fmla="*/ 5626 h 9915"/>
              <a:gd name="connsiteX9" fmla="*/ 5860 w 10000"/>
              <a:gd name="connsiteY9" fmla="*/ 9692 h 9915"/>
              <a:gd name="connsiteX10" fmla="*/ 414 w 10000"/>
              <a:gd name="connsiteY10" fmla="*/ 6964 h 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000" h="9915">
                <a:moveTo>
                  <a:pt x="414" y="6964"/>
                </a:moveTo>
                <a:cubicBezTo>
                  <a:pt x="2013" y="8090"/>
                  <a:pt x="4444" y="9756"/>
                  <a:pt x="5947" y="9215"/>
                </a:cubicBezTo>
                <a:cubicBezTo>
                  <a:pt x="8046" y="8490"/>
                  <a:pt x="9779" y="7586"/>
                  <a:pt x="9809" y="5626"/>
                </a:cubicBezTo>
                <a:cubicBezTo>
                  <a:pt x="9840" y="3666"/>
                  <a:pt x="8018" y="1298"/>
                  <a:pt x="5008" y="872"/>
                </a:cubicBezTo>
                <a:cubicBezTo>
                  <a:pt x="1661" y="401"/>
                  <a:pt x="191" y="3589"/>
                  <a:pt x="191" y="4607"/>
                </a:cubicBezTo>
                <a:cubicBezTo>
                  <a:pt x="191" y="5626"/>
                  <a:pt x="1014" y="6568"/>
                  <a:pt x="2011" y="6822"/>
                </a:cubicBezTo>
                <a:cubicBezTo>
                  <a:pt x="721" y="7223"/>
                  <a:pt x="0" y="5804"/>
                  <a:pt x="0" y="4607"/>
                </a:cubicBezTo>
                <a:cubicBezTo>
                  <a:pt x="0" y="3411"/>
                  <a:pt x="1218" y="0"/>
                  <a:pt x="5023" y="433"/>
                </a:cubicBezTo>
                <a:cubicBezTo>
                  <a:pt x="7371" y="701"/>
                  <a:pt x="10000" y="2755"/>
                  <a:pt x="9985" y="5626"/>
                </a:cubicBezTo>
                <a:cubicBezTo>
                  <a:pt x="9969" y="8496"/>
                  <a:pt x="7455" y="9469"/>
                  <a:pt x="5860" y="9692"/>
                </a:cubicBezTo>
                <a:cubicBezTo>
                  <a:pt x="4265" y="9915"/>
                  <a:pt x="1073" y="8452"/>
                  <a:pt x="414" y="6964"/>
                </a:cubicBezTo>
                <a:close/>
              </a:path>
            </a:pathLst>
          </a:custGeom>
          <a:solidFill>
            <a:srgbClr val="339933"/>
          </a:solidFill>
          <a:ln w="9525">
            <a:solidFill>
              <a:srgbClr val="339933"/>
            </a:solidFill>
            <a:round/>
            <a:headEnd/>
            <a:tailEnd/>
          </a:ln>
        </p:spPr>
        <p:txBody>
          <a:bodyPr lIns="82993" tIns="82993" rIns="82993" bIns="82993" anchor="ctr"/>
          <a:lstStyle/>
          <a:p>
            <a:endParaRPr lang="en-GB" sz="1636" dirty="0"/>
          </a:p>
        </p:txBody>
      </p:sp>
      <p:sp>
        <p:nvSpPr>
          <p:cNvPr id="298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10582" y="126137"/>
            <a:ext cx="7571157" cy="815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1183" rIns="0" bIns="41183" numCol="1" anchor="t" anchorCtr="0" compatLnSpc="1">
            <a:prstTxWarp prst="textNoShape">
              <a:avLst/>
            </a:prstTxWarp>
          </a:bodyPr>
          <a:lstStyle>
            <a:lvl1pPr marL="336550" indent="-33655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FF0000"/>
              </a:buClr>
              <a:buFont typeface="Arial" pitchFamily="34" charset="0"/>
              <a:buChar char="•"/>
              <a:defRPr sz="12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7650" indent="-2460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Arial Unicode MS" pitchFamily="34" charset="-128"/>
                <a:cs typeface="+mn-cs"/>
              </a:defRPr>
            </a:lvl2pPr>
            <a:lvl3pPr marL="520700" indent="-2667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SzPct val="150000"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4225" indent="-257175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7750" indent="-2587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330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6167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9065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6195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  <a:tabLst>
                <a:tab pos="4870814" algn="l"/>
              </a:tabLst>
              <a:defRPr/>
            </a:pPr>
            <a:r>
              <a:rPr lang="ru-RU" sz="2000" dirty="0">
                <a:solidFill>
                  <a:srgbClr val="0077C8"/>
                </a:solidFill>
                <a:latin typeface="+mj-lt"/>
                <a:ea typeface="+mj-ea"/>
                <a:cs typeface="+mj-cs"/>
              </a:rPr>
              <a:t>Программа реконфигурации производственных мощностей и экологические задачи </a:t>
            </a:r>
            <a:r>
              <a:rPr lang="ru-RU" sz="2000" dirty="0" smtClean="0">
                <a:solidFill>
                  <a:srgbClr val="0077C8"/>
                </a:solidFill>
                <a:latin typeface="+mj-lt"/>
                <a:ea typeface="+mj-ea"/>
                <a:cs typeface="+mj-cs"/>
              </a:rPr>
              <a:t>Компании (1/2)</a:t>
            </a:r>
            <a:endParaRPr lang="en-US" altLang="zh-CN" sz="2000" dirty="0">
              <a:solidFill>
                <a:srgbClr val="0077C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496600" y="6453336"/>
            <a:ext cx="322836" cy="192087"/>
          </a:xfrm>
        </p:spPr>
        <p:txBody>
          <a:bodyPr/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250" name="Freeform 31"/>
          <p:cNvSpPr>
            <a:spLocks/>
          </p:cNvSpPr>
          <p:nvPr/>
        </p:nvSpPr>
        <p:spPr bwMode="gray">
          <a:xfrm rot="18546418">
            <a:off x="2717545" y="4733487"/>
            <a:ext cx="270238" cy="234340"/>
          </a:xfrm>
          <a:custGeom>
            <a:avLst/>
            <a:gdLst>
              <a:gd name="T0" fmla="*/ 152443 w 3884"/>
              <a:gd name="T1" fmla="*/ 534715 h 1600"/>
              <a:gd name="T2" fmla="*/ 1185665 w 3884"/>
              <a:gd name="T3" fmla="*/ 575236 h 1600"/>
              <a:gd name="T4" fmla="*/ 1955577 w 3884"/>
              <a:gd name="T5" fmla="*/ 351180 h 1600"/>
              <a:gd name="T6" fmla="*/ 998319 w 3884"/>
              <a:gd name="T7" fmla="*/ 54425 h 1600"/>
              <a:gd name="T8" fmla="*/ 37982 w 3884"/>
              <a:gd name="T9" fmla="*/ 287618 h 1600"/>
              <a:gd name="T10" fmla="*/ 400868 w 3884"/>
              <a:gd name="T11" fmla="*/ 425865 h 1600"/>
              <a:gd name="T12" fmla="*/ 0 w 3884"/>
              <a:gd name="T13" fmla="*/ 287618 h 1600"/>
              <a:gd name="T14" fmla="*/ 1001399 w 3884"/>
              <a:gd name="T15" fmla="*/ 27014 h 1600"/>
              <a:gd name="T16" fmla="*/ 1990479 w 3884"/>
              <a:gd name="T17" fmla="*/ 351180 h 1600"/>
              <a:gd name="T18" fmla="*/ 1168213 w 3884"/>
              <a:gd name="T19" fmla="*/ 605031 h 1600"/>
              <a:gd name="T20" fmla="*/ 152443 w 3884"/>
              <a:gd name="T21" fmla="*/ 534715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  <a:gd name="connsiteX0" fmla="*/ 657 w 10000"/>
              <a:gd name="connsiteY0" fmla="*/ 7337 h 9821"/>
              <a:gd name="connsiteX1" fmla="*/ 5947 w 10000"/>
              <a:gd name="connsiteY1" fmla="*/ 9050 h 9821"/>
              <a:gd name="connsiteX2" fmla="*/ 9809 w 10000"/>
              <a:gd name="connsiteY2" fmla="*/ 5525 h 9821"/>
              <a:gd name="connsiteX3" fmla="*/ 5008 w 10000"/>
              <a:gd name="connsiteY3" fmla="*/ 856 h 9821"/>
              <a:gd name="connsiteX4" fmla="*/ 191 w 10000"/>
              <a:gd name="connsiteY4" fmla="*/ 4525 h 9821"/>
              <a:gd name="connsiteX5" fmla="*/ 2011 w 10000"/>
              <a:gd name="connsiteY5" fmla="*/ 6700 h 9821"/>
              <a:gd name="connsiteX6" fmla="*/ 0 w 10000"/>
              <a:gd name="connsiteY6" fmla="*/ 4525 h 9821"/>
              <a:gd name="connsiteX7" fmla="*/ 5023 w 10000"/>
              <a:gd name="connsiteY7" fmla="*/ 425 h 9821"/>
              <a:gd name="connsiteX8" fmla="*/ 9985 w 10000"/>
              <a:gd name="connsiteY8" fmla="*/ 5525 h 9821"/>
              <a:gd name="connsiteX9" fmla="*/ 5860 w 10000"/>
              <a:gd name="connsiteY9" fmla="*/ 9519 h 9821"/>
              <a:gd name="connsiteX10" fmla="*/ 657 w 10000"/>
              <a:gd name="connsiteY10" fmla="*/ 7337 h 9821"/>
              <a:gd name="connsiteX0" fmla="*/ 414 w 10000"/>
              <a:gd name="connsiteY0" fmla="*/ 6964 h 9915"/>
              <a:gd name="connsiteX1" fmla="*/ 5947 w 10000"/>
              <a:gd name="connsiteY1" fmla="*/ 9215 h 9915"/>
              <a:gd name="connsiteX2" fmla="*/ 9809 w 10000"/>
              <a:gd name="connsiteY2" fmla="*/ 5626 h 9915"/>
              <a:gd name="connsiteX3" fmla="*/ 5008 w 10000"/>
              <a:gd name="connsiteY3" fmla="*/ 872 h 9915"/>
              <a:gd name="connsiteX4" fmla="*/ 191 w 10000"/>
              <a:gd name="connsiteY4" fmla="*/ 4607 h 9915"/>
              <a:gd name="connsiteX5" fmla="*/ 2011 w 10000"/>
              <a:gd name="connsiteY5" fmla="*/ 6822 h 9915"/>
              <a:gd name="connsiteX6" fmla="*/ 0 w 10000"/>
              <a:gd name="connsiteY6" fmla="*/ 4607 h 9915"/>
              <a:gd name="connsiteX7" fmla="*/ 5023 w 10000"/>
              <a:gd name="connsiteY7" fmla="*/ 433 h 9915"/>
              <a:gd name="connsiteX8" fmla="*/ 9985 w 10000"/>
              <a:gd name="connsiteY8" fmla="*/ 5626 h 9915"/>
              <a:gd name="connsiteX9" fmla="*/ 5860 w 10000"/>
              <a:gd name="connsiteY9" fmla="*/ 9692 h 9915"/>
              <a:gd name="connsiteX10" fmla="*/ 414 w 10000"/>
              <a:gd name="connsiteY10" fmla="*/ 6964 h 9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000" h="9915">
                <a:moveTo>
                  <a:pt x="414" y="6964"/>
                </a:moveTo>
                <a:cubicBezTo>
                  <a:pt x="2013" y="8090"/>
                  <a:pt x="4444" y="9756"/>
                  <a:pt x="5947" y="9215"/>
                </a:cubicBezTo>
                <a:cubicBezTo>
                  <a:pt x="8046" y="8490"/>
                  <a:pt x="9779" y="7586"/>
                  <a:pt x="9809" y="5626"/>
                </a:cubicBezTo>
                <a:cubicBezTo>
                  <a:pt x="9840" y="3666"/>
                  <a:pt x="8018" y="1298"/>
                  <a:pt x="5008" y="872"/>
                </a:cubicBezTo>
                <a:cubicBezTo>
                  <a:pt x="1661" y="401"/>
                  <a:pt x="191" y="3589"/>
                  <a:pt x="191" y="4607"/>
                </a:cubicBezTo>
                <a:cubicBezTo>
                  <a:pt x="191" y="5626"/>
                  <a:pt x="1014" y="6568"/>
                  <a:pt x="2011" y="6822"/>
                </a:cubicBezTo>
                <a:cubicBezTo>
                  <a:pt x="721" y="7223"/>
                  <a:pt x="0" y="5804"/>
                  <a:pt x="0" y="4607"/>
                </a:cubicBezTo>
                <a:cubicBezTo>
                  <a:pt x="0" y="3411"/>
                  <a:pt x="1218" y="0"/>
                  <a:pt x="5023" y="433"/>
                </a:cubicBezTo>
                <a:cubicBezTo>
                  <a:pt x="7371" y="701"/>
                  <a:pt x="10000" y="2755"/>
                  <a:pt x="9985" y="5626"/>
                </a:cubicBezTo>
                <a:cubicBezTo>
                  <a:pt x="9969" y="8496"/>
                  <a:pt x="7455" y="9469"/>
                  <a:pt x="5860" y="9692"/>
                </a:cubicBezTo>
                <a:cubicBezTo>
                  <a:pt x="4265" y="9915"/>
                  <a:pt x="1073" y="8452"/>
                  <a:pt x="414" y="6964"/>
                </a:cubicBezTo>
                <a:close/>
              </a:path>
            </a:pathLst>
          </a:custGeom>
          <a:solidFill>
            <a:srgbClr val="339933"/>
          </a:solidFill>
          <a:ln w="9525">
            <a:solidFill>
              <a:srgbClr val="339933"/>
            </a:solidFill>
            <a:round/>
            <a:headEnd/>
            <a:tailEnd/>
          </a:ln>
        </p:spPr>
        <p:txBody>
          <a:bodyPr lIns="82993" tIns="82993" rIns="82993" bIns="82993" anchor="ctr"/>
          <a:lstStyle/>
          <a:p>
            <a:endParaRPr lang="en-GB" sz="1636" dirty="0"/>
          </a:p>
        </p:txBody>
      </p:sp>
      <p:sp>
        <p:nvSpPr>
          <p:cNvPr id="252" name="TextBox 251"/>
          <p:cNvSpPr txBox="1"/>
          <p:nvPr/>
        </p:nvSpPr>
        <p:spPr>
          <a:xfrm>
            <a:off x="3000798" y="4677845"/>
            <a:ext cx="1284212" cy="2798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909" dirty="0">
                <a:solidFill>
                  <a:srgbClr val="000000"/>
                </a:solidFill>
              </a:rPr>
              <a:t>Зоны развития и </a:t>
            </a:r>
          </a:p>
          <a:p>
            <a:r>
              <a:rPr lang="ru-RU" sz="909" dirty="0">
                <a:solidFill>
                  <a:srgbClr val="000000"/>
                </a:solidFill>
              </a:rPr>
              <a:t>модернизации активов</a:t>
            </a:r>
            <a:endParaRPr lang="en-GB" sz="909" dirty="0">
              <a:solidFill>
                <a:srgbClr val="00000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29376" y="4063113"/>
            <a:ext cx="2193228" cy="246221"/>
          </a:xfrm>
          <a:prstGeom prst="rect">
            <a:avLst/>
          </a:prstGeom>
          <a:noFill/>
        </p:spPr>
        <p:txBody>
          <a:bodyPr wrap="square" lIns="82993" tIns="41496" rIns="82993" bIns="41496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0000"/>
                </a:solidFill>
              </a:rPr>
              <a:t>Norilsk Nickel </a:t>
            </a:r>
            <a:r>
              <a:rPr lang="en-US" sz="1000" b="1" dirty="0" err="1">
                <a:solidFill>
                  <a:srgbClr val="000000"/>
                </a:solidFill>
              </a:rPr>
              <a:t>Harjavalta</a:t>
            </a:r>
            <a:endParaRPr lang="ru-RU" sz="1000" b="1" dirty="0">
              <a:solidFill>
                <a:srgbClr val="0000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18852" y="2620588"/>
            <a:ext cx="248900" cy="285339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1376821" y="4710335"/>
            <a:ext cx="720698" cy="1399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909" dirty="0">
                <a:solidFill>
                  <a:srgbClr val="000000"/>
                </a:solidFill>
              </a:rPr>
              <a:t>Металлургия</a:t>
            </a:r>
            <a:endParaRPr lang="en-GB" sz="909" dirty="0">
              <a:solidFill>
                <a:srgbClr val="000000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034050" y="4496752"/>
            <a:ext cx="1444739" cy="1399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909" dirty="0">
                <a:solidFill>
                  <a:srgbClr val="000000"/>
                </a:solidFill>
              </a:rPr>
              <a:t>Обогатительные фабрики</a:t>
            </a:r>
            <a:endParaRPr lang="en-GB" sz="909" dirty="0">
              <a:solidFill>
                <a:srgbClr val="000000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356324" y="4481456"/>
            <a:ext cx="1172179" cy="1399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909" dirty="0">
                <a:solidFill>
                  <a:srgbClr val="000000"/>
                </a:solidFill>
              </a:rPr>
              <a:t>Горные предприятия</a:t>
            </a:r>
            <a:endParaRPr lang="en-GB" sz="909" dirty="0">
              <a:solidFill>
                <a:srgbClr val="000000"/>
              </a:solidFill>
            </a:endParaRPr>
          </a:p>
        </p:txBody>
      </p:sp>
      <p:grpSp>
        <p:nvGrpSpPr>
          <p:cNvPr id="72" name="Group 191"/>
          <p:cNvGrpSpPr/>
          <p:nvPr/>
        </p:nvGrpSpPr>
        <p:grpSpPr>
          <a:xfrm>
            <a:off x="1115030" y="4455877"/>
            <a:ext cx="206541" cy="206414"/>
            <a:chOff x="8950187" y="4154374"/>
            <a:chExt cx="180000" cy="180000"/>
          </a:xfrm>
        </p:grpSpPr>
        <p:sp>
          <p:nvSpPr>
            <p:cNvPr id="73" name="Oval 381"/>
            <p:cNvSpPr>
              <a:spLocks noChangeAspect="1"/>
            </p:cNvSpPr>
            <p:nvPr/>
          </p:nvSpPr>
          <p:spPr bwMode="auto">
            <a:xfrm>
              <a:off x="8950187" y="4154374"/>
              <a:ext cx="180000" cy="180000"/>
            </a:xfrm>
            <a:prstGeom prst="ellipse">
              <a:avLst/>
            </a:prstGeom>
            <a:solidFill>
              <a:srgbClr val="D60500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sp>
          <p:nvSpPr>
            <p:cNvPr id="74" name="Freeform 298"/>
            <p:cNvSpPr>
              <a:spLocks noChangeAspect="1" noEditPoints="1"/>
            </p:cNvSpPr>
            <p:nvPr/>
          </p:nvSpPr>
          <p:spPr bwMode="auto">
            <a:xfrm>
              <a:off x="8981140" y="4207292"/>
              <a:ext cx="119911" cy="85199"/>
            </a:xfrm>
            <a:custGeom>
              <a:avLst/>
              <a:gdLst>
                <a:gd name="T0" fmla="*/ 2147483647 w 190"/>
                <a:gd name="T1" fmla="*/ 2147483647 h 118"/>
                <a:gd name="T2" fmla="*/ 2147483647 w 190"/>
                <a:gd name="T3" fmla="*/ 2147483647 h 118"/>
                <a:gd name="T4" fmla="*/ 2147483647 w 190"/>
                <a:gd name="T5" fmla="*/ 2147483647 h 118"/>
                <a:gd name="T6" fmla="*/ 2147483647 w 190"/>
                <a:gd name="T7" fmla="*/ 0 h 118"/>
                <a:gd name="T8" fmla="*/ 2147483647 w 190"/>
                <a:gd name="T9" fmla="*/ 0 h 118"/>
                <a:gd name="T10" fmla="*/ 2147483647 w 190"/>
                <a:gd name="T11" fmla="*/ 2147483647 h 118"/>
                <a:gd name="T12" fmla="*/ 0 w 190"/>
                <a:gd name="T13" fmla="*/ 2147483647 h 118"/>
                <a:gd name="T14" fmla="*/ 0 w 190"/>
                <a:gd name="T15" fmla="*/ 2147483647 h 118"/>
                <a:gd name="T16" fmla="*/ 2147483647 w 190"/>
                <a:gd name="T17" fmla="*/ 2147483647 h 118"/>
                <a:gd name="T18" fmla="*/ 2147483647 w 190"/>
                <a:gd name="T19" fmla="*/ 2147483647 h 118"/>
                <a:gd name="T20" fmla="*/ 2147483647 w 190"/>
                <a:gd name="T21" fmla="*/ 2147483647 h 118"/>
                <a:gd name="T22" fmla="*/ 2147483647 w 190"/>
                <a:gd name="T23" fmla="*/ 2147483647 h 118"/>
                <a:gd name="T24" fmla="*/ 2147483647 w 190"/>
                <a:gd name="T25" fmla="*/ 2147483647 h 118"/>
                <a:gd name="T26" fmla="*/ 2147483647 w 190"/>
                <a:gd name="T27" fmla="*/ 2147483647 h 118"/>
                <a:gd name="T28" fmla="*/ 2147483647 w 190"/>
                <a:gd name="T29" fmla="*/ 2147483647 h 118"/>
                <a:gd name="T30" fmla="*/ 2147483647 w 190"/>
                <a:gd name="T31" fmla="*/ 2147483647 h 118"/>
                <a:gd name="T32" fmla="*/ 2147483647 w 190"/>
                <a:gd name="T33" fmla="*/ 2147483647 h 118"/>
                <a:gd name="T34" fmla="*/ 2147483647 w 190"/>
                <a:gd name="T35" fmla="*/ 2147483647 h 118"/>
                <a:gd name="T36" fmla="*/ 2147483647 w 190"/>
                <a:gd name="T37" fmla="*/ 2147483647 h 118"/>
                <a:gd name="T38" fmla="*/ 2147483647 w 190"/>
                <a:gd name="T39" fmla="*/ 2147483647 h 118"/>
                <a:gd name="T40" fmla="*/ 2147483647 w 190"/>
                <a:gd name="T41" fmla="*/ 2147483647 h 118"/>
                <a:gd name="T42" fmla="*/ 2147483647 w 190"/>
                <a:gd name="T43" fmla="*/ 2147483647 h 118"/>
                <a:gd name="T44" fmla="*/ 2147483647 w 190"/>
                <a:gd name="T45" fmla="*/ 2147483647 h 118"/>
                <a:gd name="T46" fmla="*/ 2147483647 w 190"/>
                <a:gd name="T47" fmla="*/ 2147483647 h 118"/>
                <a:gd name="T48" fmla="*/ 2147483647 w 190"/>
                <a:gd name="T49" fmla="*/ 2147483647 h 118"/>
                <a:gd name="T50" fmla="*/ 2147483647 w 190"/>
                <a:gd name="T51" fmla="*/ 2147483647 h 118"/>
                <a:gd name="T52" fmla="*/ 2147483647 w 190"/>
                <a:gd name="T53" fmla="*/ 2147483647 h 118"/>
                <a:gd name="T54" fmla="*/ 2147483647 w 190"/>
                <a:gd name="T55" fmla="*/ 2147483647 h 118"/>
                <a:gd name="T56" fmla="*/ 2147483647 w 190"/>
                <a:gd name="T57" fmla="*/ 2147483647 h 118"/>
                <a:gd name="T58" fmla="*/ 2147483647 w 190"/>
                <a:gd name="T59" fmla="*/ 2147483647 h 118"/>
                <a:gd name="T60" fmla="*/ 2147483647 w 190"/>
                <a:gd name="T61" fmla="*/ 2147483647 h 118"/>
                <a:gd name="T62" fmla="*/ 2147483647 w 190"/>
                <a:gd name="T63" fmla="*/ 2147483647 h 118"/>
                <a:gd name="T64" fmla="*/ 2147483647 w 190"/>
                <a:gd name="T65" fmla="*/ 2147483647 h 118"/>
                <a:gd name="T66" fmla="*/ 2147483647 w 190"/>
                <a:gd name="T67" fmla="*/ 2147483647 h 118"/>
                <a:gd name="T68" fmla="*/ 2147483647 w 190"/>
                <a:gd name="T69" fmla="*/ 2147483647 h 118"/>
                <a:gd name="T70" fmla="*/ 2147483647 w 190"/>
                <a:gd name="T71" fmla="*/ 2147483647 h 118"/>
                <a:gd name="T72" fmla="*/ 2147483647 w 190"/>
                <a:gd name="T73" fmla="*/ 2147483647 h 118"/>
                <a:gd name="T74" fmla="*/ 2147483647 w 190"/>
                <a:gd name="T75" fmla="*/ 2147483647 h 118"/>
                <a:gd name="T76" fmla="*/ 2147483647 w 190"/>
                <a:gd name="T77" fmla="*/ 2147483647 h 118"/>
                <a:gd name="T78" fmla="*/ 2147483647 w 190"/>
                <a:gd name="T79" fmla="*/ 2147483647 h 118"/>
                <a:gd name="T80" fmla="*/ 2147483647 w 190"/>
                <a:gd name="T81" fmla="*/ 2147483647 h 118"/>
                <a:gd name="T82" fmla="*/ 2147483647 w 190"/>
                <a:gd name="T83" fmla="*/ 2147483647 h 118"/>
                <a:gd name="T84" fmla="*/ 2147483647 w 190"/>
                <a:gd name="T85" fmla="*/ 2147483647 h 118"/>
                <a:gd name="T86" fmla="*/ 2147483647 w 190"/>
                <a:gd name="T87" fmla="*/ 2147483647 h 118"/>
                <a:gd name="T88" fmla="*/ 2147483647 w 190"/>
                <a:gd name="T89" fmla="*/ 2147483647 h 118"/>
                <a:gd name="T90" fmla="*/ 2147483647 w 190"/>
                <a:gd name="T91" fmla="*/ 2147483647 h 118"/>
                <a:gd name="T92" fmla="*/ 2147483647 w 190"/>
                <a:gd name="T93" fmla="*/ 2147483647 h 11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90" h="118">
                  <a:moveTo>
                    <a:pt x="190" y="11"/>
                  </a:moveTo>
                  <a:cubicBezTo>
                    <a:pt x="190" y="2"/>
                    <a:pt x="190" y="2"/>
                    <a:pt x="190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28" y="97"/>
                    <a:pt x="28" y="97"/>
                    <a:pt x="28" y="97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33" y="112"/>
                    <a:pt x="33" y="112"/>
                    <a:pt x="33" y="11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150" y="97"/>
                    <a:pt x="150" y="97"/>
                    <a:pt x="150" y="97"/>
                  </a:cubicBezTo>
                  <a:cubicBezTo>
                    <a:pt x="150" y="118"/>
                    <a:pt x="150" y="118"/>
                    <a:pt x="150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2"/>
                    <a:pt x="156" y="112"/>
                    <a:pt x="156" y="112"/>
                  </a:cubicBezTo>
                  <a:cubicBezTo>
                    <a:pt x="161" y="112"/>
                    <a:pt x="161" y="112"/>
                    <a:pt x="161" y="112"/>
                  </a:cubicBezTo>
                  <a:cubicBezTo>
                    <a:pt x="161" y="97"/>
                    <a:pt x="161" y="97"/>
                    <a:pt x="161" y="97"/>
                  </a:cubicBezTo>
                  <a:cubicBezTo>
                    <a:pt x="179" y="97"/>
                    <a:pt x="179" y="97"/>
                    <a:pt x="179" y="97"/>
                  </a:cubicBezTo>
                  <a:cubicBezTo>
                    <a:pt x="179" y="84"/>
                    <a:pt x="179" y="84"/>
                    <a:pt x="179" y="84"/>
                  </a:cubicBezTo>
                  <a:cubicBezTo>
                    <a:pt x="167" y="84"/>
                    <a:pt x="167" y="84"/>
                    <a:pt x="167" y="84"/>
                  </a:cubicBezTo>
                  <a:cubicBezTo>
                    <a:pt x="145" y="54"/>
                    <a:pt x="145" y="54"/>
                    <a:pt x="145" y="54"/>
                  </a:cubicBezTo>
                  <a:cubicBezTo>
                    <a:pt x="170" y="11"/>
                    <a:pt x="170" y="11"/>
                    <a:pt x="170" y="11"/>
                  </a:cubicBezTo>
                  <a:lnTo>
                    <a:pt x="190" y="11"/>
                  </a:lnTo>
                  <a:close/>
                  <a:moveTo>
                    <a:pt x="150" y="84"/>
                  </a:moveTo>
                  <a:cubicBezTo>
                    <a:pt x="39" y="84"/>
                    <a:pt x="39" y="84"/>
                    <a:pt x="39" y="84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3" y="37"/>
                    <a:pt x="75" y="35"/>
                    <a:pt x="77" y="33"/>
                  </a:cubicBezTo>
                  <a:cubicBezTo>
                    <a:pt x="83" y="31"/>
                    <a:pt x="89" y="30"/>
                    <a:pt x="95" y="30"/>
                  </a:cubicBezTo>
                  <a:cubicBezTo>
                    <a:pt x="101" y="30"/>
                    <a:pt x="107" y="31"/>
                    <a:pt x="113" y="34"/>
                  </a:cubicBezTo>
                  <a:cubicBezTo>
                    <a:pt x="115" y="35"/>
                    <a:pt x="117" y="37"/>
                    <a:pt x="118" y="39"/>
                  </a:cubicBezTo>
                  <a:lnTo>
                    <a:pt x="150" y="84"/>
                  </a:lnTo>
                  <a:close/>
                  <a:moveTo>
                    <a:pt x="95" y="35"/>
                  </a:moveTo>
                  <a:cubicBezTo>
                    <a:pt x="86" y="35"/>
                    <a:pt x="79" y="39"/>
                    <a:pt x="75" y="45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67" y="76"/>
                    <a:pt x="79" y="82"/>
                    <a:pt x="92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110" y="82"/>
                    <a:pt x="122" y="76"/>
                    <a:pt x="130" y="68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0" y="39"/>
                    <a:pt x="103" y="35"/>
                    <a:pt x="9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endParaRPr lang="en-GB" sz="1636" dirty="0"/>
            </a:p>
          </p:txBody>
        </p:sp>
      </p:grpSp>
      <p:grpSp>
        <p:nvGrpSpPr>
          <p:cNvPr id="75" name="Group 200"/>
          <p:cNvGrpSpPr/>
          <p:nvPr/>
        </p:nvGrpSpPr>
        <p:grpSpPr>
          <a:xfrm>
            <a:off x="2783667" y="4469003"/>
            <a:ext cx="206541" cy="206414"/>
            <a:chOff x="6885610" y="4154374"/>
            <a:chExt cx="180000" cy="180000"/>
          </a:xfrm>
        </p:grpSpPr>
        <p:sp>
          <p:nvSpPr>
            <p:cNvPr id="76" name="Oval 389"/>
            <p:cNvSpPr>
              <a:spLocks noChangeAspect="1"/>
            </p:cNvSpPr>
            <p:nvPr/>
          </p:nvSpPr>
          <p:spPr bwMode="auto">
            <a:xfrm>
              <a:off x="6885610" y="4154374"/>
              <a:ext cx="180000" cy="180000"/>
            </a:xfrm>
            <a:prstGeom prst="ellipse">
              <a:avLst/>
            </a:prstGeom>
            <a:solidFill>
              <a:srgbClr val="F09230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sp>
          <p:nvSpPr>
            <p:cNvPr id="77" name="Freeform 41"/>
            <p:cNvSpPr>
              <a:spLocks noEditPoints="1"/>
            </p:cNvSpPr>
            <p:nvPr/>
          </p:nvSpPr>
          <p:spPr bwMode="auto">
            <a:xfrm>
              <a:off x="6933230" y="4193454"/>
              <a:ext cx="85015" cy="104113"/>
            </a:xfrm>
            <a:custGeom>
              <a:avLst/>
              <a:gdLst>
                <a:gd name="T0" fmla="*/ 2147483647 w 641"/>
                <a:gd name="T1" fmla="*/ 2147483647 h 785"/>
                <a:gd name="T2" fmla="*/ 2147483647 w 641"/>
                <a:gd name="T3" fmla="*/ 2147483647 h 785"/>
                <a:gd name="T4" fmla="*/ 2147483647 w 641"/>
                <a:gd name="T5" fmla="*/ 0 h 785"/>
                <a:gd name="T6" fmla="*/ 2147483647 w 641"/>
                <a:gd name="T7" fmla="*/ 2147483647 h 785"/>
                <a:gd name="T8" fmla="*/ 2147483647 w 641"/>
                <a:gd name="T9" fmla="*/ 2147483647 h 785"/>
                <a:gd name="T10" fmla="*/ 2147483647 w 641"/>
                <a:gd name="T11" fmla="*/ 2147483647 h 785"/>
                <a:gd name="T12" fmla="*/ 2147483647 w 641"/>
                <a:gd name="T13" fmla="*/ 2147483647 h 785"/>
                <a:gd name="T14" fmla="*/ 2147483647 w 641"/>
                <a:gd name="T15" fmla="*/ 2147483647 h 785"/>
                <a:gd name="T16" fmla="*/ 2147483647 w 641"/>
                <a:gd name="T17" fmla="*/ 2147483647 h 785"/>
                <a:gd name="T18" fmla="*/ 2147483647 w 641"/>
                <a:gd name="T19" fmla="*/ 2147483647 h 785"/>
                <a:gd name="T20" fmla="*/ 2147483647 w 641"/>
                <a:gd name="T21" fmla="*/ 2147483647 h 785"/>
                <a:gd name="T22" fmla="*/ 2147483647 w 641"/>
                <a:gd name="T23" fmla="*/ 2147483647 h 785"/>
                <a:gd name="T24" fmla="*/ 2147483647 w 641"/>
                <a:gd name="T25" fmla="*/ 2147483647 h 785"/>
                <a:gd name="T26" fmla="*/ 2147483647 w 641"/>
                <a:gd name="T27" fmla="*/ 2147483647 h 785"/>
                <a:gd name="T28" fmla="*/ 2147483647 w 641"/>
                <a:gd name="T29" fmla="*/ 2147483647 h 785"/>
                <a:gd name="T30" fmla="*/ 2147483647 w 641"/>
                <a:gd name="T31" fmla="*/ 2147483647 h 785"/>
                <a:gd name="T32" fmla="*/ 2147483647 w 641"/>
                <a:gd name="T33" fmla="*/ 2147483647 h 785"/>
                <a:gd name="T34" fmla="*/ 2147483647 w 641"/>
                <a:gd name="T35" fmla="*/ 2147483647 h 785"/>
                <a:gd name="T36" fmla="*/ 2147483647 w 641"/>
                <a:gd name="T37" fmla="*/ 2147483647 h 785"/>
                <a:gd name="T38" fmla="*/ 2147483647 w 641"/>
                <a:gd name="T39" fmla="*/ 2147483647 h 785"/>
                <a:gd name="T40" fmla="*/ 2147483647 w 641"/>
                <a:gd name="T41" fmla="*/ 2147483647 h 785"/>
                <a:gd name="T42" fmla="*/ 2147483647 w 641"/>
                <a:gd name="T43" fmla="*/ 2147483647 h 785"/>
                <a:gd name="T44" fmla="*/ 2147483647 w 641"/>
                <a:gd name="T45" fmla="*/ 2147483647 h 785"/>
                <a:gd name="T46" fmla="*/ 2147483647 w 641"/>
                <a:gd name="T47" fmla="*/ 2147483647 h 785"/>
                <a:gd name="T48" fmla="*/ 0 w 641"/>
                <a:gd name="T49" fmla="*/ 2147483647 h 785"/>
                <a:gd name="T50" fmla="*/ 2147483647 w 641"/>
                <a:gd name="T51" fmla="*/ 2147483647 h 785"/>
                <a:gd name="T52" fmla="*/ 2147483647 w 641"/>
                <a:gd name="T53" fmla="*/ 2147483647 h 785"/>
                <a:gd name="T54" fmla="*/ 2147483647 w 641"/>
                <a:gd name="T55" fmla="*/ 2147483647 h 785"/>
                <a:gd name="T56" fmla="*/ 2147483647 w 641"/>
                <a:gd name="T57" fmla="*/ 2147483647 h 785"/>
                <a:gd name="T58" fmla="*/ 2147483647 w 641"/>
                <a:gd name="T59" fmla="*/ 2147483647 h 785"/>
                <a:gd name="T60" fmla="*/ 2147483647 w 641"/>
                <a:gd name="T61" fmla="*/ 2147483647 h 785"/>
                <a:gd name="T62" fmla="*/ 2147483647 w 641"/>
                <a:gd name="T63" fmla="*/ 2147483647 h 785"/>
                <a:gd name="T64" fmla="*/ 2147483647 w 641"/>
                <a:gd name="T65" fmla="*/ 2147483647 h 785"/>
                <a:gd name="T66" fmla="*/ 2147483647 w 641"/>
                <a:gd name="T67" fmla="*/ 2147483647 h 785"/>
                <a:gd name="T68" fmla="*/ 2147483647 w 641"/>
                <a:gd name="T69" fmla="*/ 2147483647 h 785"/>
                <a:gd name="T70" fmla="*/ 2147483647 w 641"/>
                <a:gd name="T71" fmla="*/ 2147483647 h 785"/>
                <a:gd name="T72" fmla="*/ 2147483647 w 641"/>
                <a:gd name="T73" fmla="*/ 2147483647 h 785"/>
                <a:gd name="T74" fmla="*/ 2147483647 w 641"/>
                <a:gd name="T75" fmla="*/ 2147483647 h 785"/>
                <a:gd name="T76" fmla="*/ 2147483647 w 641"/>
                <a:gd name="T77" fmla="*/ 2147483647 h 785"/>
                <a:gd name="T78" fmla="*/ 2147483647 w 641"/>
                <a:gd name="T79" fmla="*/ 2147483647 h 785"/>
                <a:gd name="T80" fmla="*/ 2147483647 w 641"/>
                <a:gd name="T81" fmla="*/ 2147483647 h 785"/>
                <a:gd name="T82" fmla="*/ 2147483647 w 641"/>
                <a:gd name="T83" fmla="*/ 2147483647 h 785"/>
                <a:gd name="T84" fmla="*/ 2147483647 w 641"/>
                <a:gd name="T85" fmla="*/ 2147483647 h 785"/>
                <a:gd name="T86" fmla="*/ 2147483647 w 641"/>
                <a:gd name="T87" fmla="*/ 2147483647 h 785"/>
                <a:gd name="T88" fmla="*/ 2147483647 w 641"/>
                <a:gd name="T89" fmla="*/ 2147483647 h 785"/>
                <a:gd name="T90" fmla="*/ 2147483647 w 641"/>
                <a:gd name="T91" fmla="*/ 2147483647 h 785"/>
                <a:gd name="T92" fmla="*/ 2147483647 w 641"/>
                <a:gd name="T93" fmla="*/ 2147483647 h 785"/>
                <a:gd name="T94" fmla="*/ 2147483647 w 641"/>
                <a:gd name="T95" fmla="*/ 2147483647 h 785"/>
                <a:gd name="T96" fmla="*/ 2147483647 w 641"/>
                <a:gd name="T97" fmla="*/ 2147483647 h 785"/>
                <a:gd name="T98" fmla="*/ 2147483647 w 641"/>
                <a:gd name="T99" fmla="*/ 2147483647 h 785"/>
                <a:gd name="T100" fmla="*/ 2147483647 w 641"/>
                <a:gd name="T101" fmla="*/ 2147483647 h 785"/>
                <a:gd name="T102" fmla="*/ 2147483647 w 641"/>
                <a:gd name="T103" fmla="*/ 2147483647 h 785"/>
                <a:gd name="T104" fmla="*/ 2147483647 w 641"/>
                <a:gd name="T105" fmla="*/ 2147483647 h 7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41" h="785">
                  <a:moveTo>
                    <a:pt x="616" y="724"/>
                  </a:moveTo>
                  <a:lnTo>
                    <a:pt x="616" y="448"/>
                  </a:lnTo>
                  <a:lnTo>
                    <a:pt x="561" y="448"/>
                  </a:lnTo>
                  <a:lnTo>
                    <a:pt x="561" y="404"/>
                  </a:lnTo>
                  <a:lnTo>
                    <a:pt x="523" y="404"/>
                  </a:lnTo>
                  <a:lnTo>
                    <a:pt x="507" y="0"/>
                  </a:lnTo>
                  <a:lnTo>
                    <a:pt x="452" y="0"/>
                  </a:lnTo>
                  <a:lnTo>
                    <a:pt x="436" y="404"/>
                  </a:lnTo>
                  <a:lnTo>
                    <a:pt x="394" y="404"/>
                  </a:lnTo>
                  <a:lnTo>
                    <a:pt x="394" y="448"/>
                  </a:lnTo>
                  <a:lnTo>
                    <a:pt x="339" y="448"/>
                  </a:lnTo>
                  <a:lnTo>
                    <a:pt x="339" y="724"/>
                  </a:lnTo>
                  <a:lnTo>
                    <a:pt x="300" y="724"/>
                  </a:lnTo>
                  <a:lnTo>
                    <a:pt x="300" y="684"/>
                  </a:lnTo>
                  <a:lnTo>
                    <a:pt x="282" y="684"/>
                  </a:lnTo>
                  <a:lnTo>
                    <a:pt x="276" y="684"/>
                  </a:lnTo>
                  <a:lnTo>
                    <a:pt x="276" y="429"/>
                  </a:lnTo>
                  <a:lnTo>
                    <a:pt x="266" y="418"/>
                  </a:lnTo>
                  <a:lnTo>
                    <a:pt x="256" y="407"/>
                  </a:lnTo>
                  <a:lnTo>
                    <a:pt x="242" y="394"/>
                  </a:lnTo>
                  <a:lnTo>
                    <a:pt x="225" y="382"/>
                  </a:lnTo>
                  <a:lnTo>
                    <a:pt x="215" y="376"/>
                  </a:lnTo>
                  <a:lnTo>
                    <a:pt x="205" y="370"/>
                  </a:lnTo>
                  <a:lnTo>
                    <a:pt x="196" y="366"/>
                  </a:lnTo>
                  <a:lnTo>
                    <a:pt x="185" y="362"/>
                  </a:lnTo>
                  <a:lnTo>
                    <a:pt x="173" y="358"/>
                  </a:lnTo>
                  <a:lnTo>
                    <a:pt x="162" y="357"/>
                  </a:lnTo>
                  <a:lnTo>
                    <a:pt x="162" y="352"/>
                  </a:lnTo>
                  <a:lnTo>
                    <a:pt x="144" y="352"/>
                  </a:lnTo>
                  <a:lnTo>
                    <a:pt x="144" y="358"/>
                  </a:lnTo>
                  <a:lnTo>
                    <a:pt x="133" y="359"/>
                  </a:lnTo>
                  <a:lnTo>
                    <a:pt x="122" y="363"/>
                  </a:lnTo>
                  <a:lnTo>
                    <a:pt x="112" y="367"/>
                  </a:lnTo>
                  <a:lnTo>
                    <a:pt x="102" y="372"/>
                  </a:lnTo>
                  <a:lnTo>
                    <a:pt x="92" y="378"/>
                  </a:lnTo>
                  <a:lnTo>
                    <a:pt x="84" y="383"/>
                  </a:lnTo>
                  <a:lnTo>
                    <a:pt x="67" y="396"/>
                  </a:lnTo>
                  <a:lnTo>
                    <a:pt x="54" y="408"/>
                  </a:lnTo>
                  <a:lnTo>
                    <a:pt x="45" y="419"/>
                  </a:lnTo>
                  <a:lnTo>
                    <a:pt x="36" y="429"/>
                  </a:lnTo>
                  <a:lnTo>
                    <a:pt x="36" y="684"/>
                  </a:lnTo>
                  <a:lnTo>
                    <a:pt x="18" y="684"/>
                  </a:lnTo>
                  <a:lnTo>
                    <a:pt x="16" y="684"/>
                  </a:lnTo>
                  <a:lnTo>
                    <a:pt x="16" y="724"/>
                  </a:lnTo>
                  <a:lnTo>
                    <a:pt x="0" y="724"/>
                  </a:lnTo>
                  <a:lnTo>
                    <a:pt x="0" y="785"/>
                  </a:lnTo>
                  <a:lnTo>
                    <a:pt x="641" y="785"/>
                  </a:lnTo>
                  <a:lnTo>
                    <a:pt x="641" y="724"/>
                  </a:lnTo>
                  <a:lnTo>
                    <a:pt x="616" y="724"/>
                  </a:lnTo>
                  <a:close/>
                  <a:moveTo>
                    <a:pt x="481" y="497"/>
                  </a:moveTo>
                  <a:lnTo>
                    <a:pt x="573" y="497"/>
                  </a:lnTo>
                  <a:lnTo>
                    <a:pt x="573" y="532"/>
                  </a:lnTo>
                  <a:lnTo>
                    <a:pt x="481" y="532"/>
                  </a:lnTo>
                  <a:lnTo>
                    <a:pt x="481" y="497"/>
                  </a:lnTo>
                  <a:close/>
                  <a:moveTo>
                    <a:pt x="481" y="545"/>
                  </a:moveTo>
                  <a:lnTo>
                    <a:pt x="573" y="545"/>
                  </a:lnTo>
                  <a:lnTo>
                    <a:pt x="573" y="594"/>
                  </a:lnTo>
                  <a:lnTo>
                    <a:pt x="481" y="594"/>
                  </a:lnTo>
                  <a:lnTo>
                    <a:pt x="481" y="545"/>
                  </a:lnTo>
                  <a:close/>
                  <a:moveTo>
                    <a:pt x="481" y="606"/>
                  </a:moveTo>
                  <a:lnTo>
                    <a:pt x="573" y="606"/>
                  </a:lnTo>
                  <a:lnTo>
                    <a:pt x="573" y="655"/>
                  </a:lnTo>
                  <a:lnTo>
                    <a:pt x="481" y="655"/>
                  </a:lnTo>
                  <a:lnTo>
                    <a:pt x="481" y="606"/>
                  </a:lnTo>
                  <a:close/>
                  <a:moveTo>
                    <a:pt x="481" y="668"/>
                  </a:moveTo>
                  <a:lnTo>
                    <a:pt x="573" y="668"/>
                  </a:lnTo>
                  <a:lnTo>
                    <a:pt x="573" y="701"/>
                  </a:lnTo>
                  <a:lnTo>
                    <a:pt x="481" y="701"/>
                  </a:lnTo>
                  <a:lnTo>
                    <a:pt x="481" y="668"/>
                  </a:lnTo>
                  <a:close/>
                  <a:moveTo>
                    <a:pt x="377" y="497"/>
                  </a:moveTo>
                  <a:lnTo>
                    <a:pt x="468" y="497"/>
                  </a:lnTo>
                  <a:lnTo>
                    <a:pt x="468" y="532"/>
                  </a:lnTo>
                  <a:lnTo>
                    <a:pt x="377" y="532"/>
                  </a:lnTo>
                  <a:lnTo>
                    <a:pt x="377" y="497"/>
                  </a:lnTo>
                  <a:close/>
                  <a:moveTo>
                    <a:pt x="377" y="545"/>
                  </a:moveTo>
                  <a:lnTo>
                    <a:pt x="468" y="545"/>
                  </a:lnTo>
                  <a:lnTo>
                    <a:pt x="468" y="594"/>
                  </a:lnTo>
                  <a:lnTo>
                    <a:pt x="377" y="594"/>
                  </a:lnTo>
                  <a:lnTo>
                    <a:pt x="377" y="545"/>
                  </a:lnTo>
                  <a:close/>
                  <a:moveTo>
                    <a:pt x="377" y="606"/>
                  </a:moveTo>
                  <a:lnTo>
                    <a:pt x="468" y="606"/>
                  </a:lnTo>
                  <a:lnTo>
                    <a:pt x="468" y="655"/>
                  </a:lnTo>
                  <a:lnTo>
                    <a:pt x="377" y="655"/>
                  </a:lnTo>
                  <a:lnTo>
                    <a:pt x="377" y="606"/>
                  </a:lnTo>
                  <a:close/>
                  <a:moveTo>
                    <a:pt x="377" y="668"/>
                  </a:moveTo>
                  <a:lnTo>
                    <a:pt x="468" y="668"/>
                  </a:lnTo>
                  <a:lnTo>
                    <a:pt x="468" y="701"/>
                  </a:lnTo>
                  <a:lnTo>
                    <a:pt x="377" y="701"/>
                  </a:lnTo>
                  <a:lnTo>
                    <a:pt x="377" y="668"/>
                  </a:lnTo>
                  <a:close/>
                  <a:moveTo>
                    <a:pt x="58" y="436"/>
                  </a:moveTo>
                  <a:lnTo>
                    <a:pt x="58" y="436"/>
                  </a:lnTo>
                  <a:lnTo>
                    <a:pt x="59" y="433"/>
                  </a:lnTo>
                  <a:lnTo>
                    <a:pt x="60" y="431"/>
                  </a:lnTo>
                  <a:lnTo>
                    <a:pt x="62" y="430"/>
                  </a:lnTo>
                  <a:lnTo>
                    <a:pt x="64" y="429"/>
                  </a:lnTo>
                  <a:lnTo>
                    <a:pt x="67" y="430"/>
                  </a:lnTo>
                  <a:lnTo>
                    <a:pt x="70" y="431"/>
                  </a:lnTo>
                  <a:lnTo>
                    <a:pt x="71" y="433"/>
                  </a:lnTo>
                  <a:lnTo>
                    <a:pt x="71" y="436"/>
                  </a:lnTo>
                  <a:lnTo>
                    <a:pt x="71" y="684"/>
                  </a:lnTo>
                  <a:lnTo>
                    <a:pt x="58" y="684"/>
                  </a:lnTo>
                  <a:lnTo>
                    <a:pt x="58" y="4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endParaRPr lang="en-GB" sz="1636" dirty="0"/>
            </a:p>
          </p:txBody>
        </p:sp>
      </p:grpSp>
      <p:grpSp>
        <p:nvGrpSpPr>
          <p:cNvPr id="78" name="Group 138"/>
          <p:cNvGrpSpPr/>
          <p:nvPr/>
        </p:nvGrpSpPr>
        <p:grpSpPr>
          <a:xfrm>
            <a:off x="1138660" y="4709128"/>
            <a:ext cx="206541" cy="206414"/>
            <a:chOff x="5706396" y="5203566"/>
            <a:chExt cx="180000" cy="180000"/>
          </a:xfrm>
        </p:grpSpPr>
        <p:sp>
          <p:nvSpPr>
            <p:cNvPr id="79" name="Oval 392"/>
            <p:cNvSpPr>
              <a:spLocks noChangeAspect="1"/>
            </p:cNvSpPr>
            <p:nvPr/>
          </p:nvSpPr>
          <p:spPr bwMode="auto">
            <a:xfrm>
              <a:off x="5706396" y="5203566"/>
              <a:ext cx="180000" cy="180000"/>
            </a:xfrm>
            <a:prstGeom prst="ellipse">
              <a:avLst/>
            </a:prstGeom>
            <a:solidFill>
              <a:srgbClr val="14446C"/>
            </a:solidFill>
            <a:ln>
              <a:solidFill>
                <a:schemeClr val="bg1"/>
              </a:solidFill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829930">
                <a:spcBef>
                  <a:spcPct val="50000"/>
                </a:spcBef>
              </a:pPr>
              <a:endParaRPr lang="en-GB" sz="1636" dirty="0"/>
            </a:p>
          </p:txBody>
        </p:sp>
        <p:grpSp>
          <p:nvGrpSpPr>
            <p:cNvPr id="80" name="Group 11"/>
            <p:cNvGrpSpPr>
              <a:grpSpLocks noChangeAspect="1"/>
            </p:cNvGrpSpPr>
            <p:nvPr/>
          </p:nvGrpSpPr>
          <p:grpSpPr bwMode="auto">
            <a:xfrm>
              <a:off x="5755701" y="5219700"/>
              <a:ext cx="84156" cy="129540"/>
              <a:chOff x="576263" y="7466012"/>
              <a:chExt cx="3898900" cy="6003926"/>
            </a:xfrm>
            <a:solidFill>
              <a:schemeClr val="bg1"/>
            </a:solidFill>
          </p:grpSpPr>
          <p:sp>
            <p:nvSpPr>
              <p:cNvPr id="81" name="Freeform 63"/>
              <p:cNvSpPr>
                <a:spLocks noEditPoints="1"/>
              </p:cNvSpPr>
              <p:nvPr/>
            </p:nvSpPr>
            <p:spPr bwMode="auto">
              <a:xfrm>
                <a:off x="576263" y="8978900"/>
                <a:ext cx="3898900" cy="4491038"/>
              </a:xfrm>
              <a:custGeom>
                <a:avLst/>
                <a:gdLst>
                  <a:gd name="T0" fmla="*/ 2147483647 w 2456"/>
                  <a:gd name="T1" fmla="*/ 2147483647 h 2829"/>
                  <a:gd name="T2" fmla="*/ 2147483647 w 2456"/>
                  <a:gd name="T3" fmla="*/ 2147483647 h 2829"/>
                  <a:gd name="T4" fmla="*/ 2147483647 w 2456"/>
                  <a:gd name="T5" fmla="*/ 2147483647 h 2829"/>
                  <a:gd name="T6" fmla="*/ 2147483647 w 2456"/>
                  <a:gd name="T7" fmla="*/ 2147483647 h 2829"/>
                  <a:gd name="T8" fmla="*/ 2147483647 w 2456"/>
                  <a:gd name="T9" fmla="*/ 2147483647 h 2829"/>
                  <a:gd name="T10" fmla="*/ 2147483647 w 2456"/>
                  <a:gd name="T11" fmla="*/ 2147483647 h 2829"/>
                  <a:gd name="T12" fmla="*/ 2147483647 w 2456"/>
                  <a:gd name="T13" fmla="*/ 2147483647 h 2829"/>
                  <a:gd name="T14" fmla="*/ 2147483647 w 2456"/>
                  <a:gd name="T15" fmla="*/ 2147483647 h 2829"/>
                  <a:gd name="T16" fmla="*/ 0 w 2456"/>
                  <a:gd name="T17" fmla="*/ 2147483647 h 2829"/>
                  <a:gd name="T18" fmla="*/ 2147483647 w 2456"/>
                  <a:gd name="T19" fmla="*/ 2147483647 h 2829"/>
                  <a:gd name="T20" fmla="*/ 2147483647 w 2456"/>
                  <a:gd name="T21" fmla="*/ 2147483647 h 2829"/>
                  <a:gd name="T22" fmla="*/ 2147483647 w 2456"/>
                  <a:gd name="T23" fmla="*/ 2147483647 h 2829"/>
                  <a:gd name="T24" fmla="*/ 2147483647 w 2456"/>
                  <a:gd name="T25" fmla="*/ 2147483647 h 2829"/>
                  <a:gd name="T26" fmla="*/ 2147483647 w 2456"/>
                  <a:gd name="T27" fmla="*/ 2147483647 h 2829"/>
                  <a:gd name="T28" fmla="*/ 2147483647 w 2456"/>
                  <a:gd name="T29" fmla="*/ 2147483647 h 2829"/>
                  <a:gd name="T30" fmla="*/ 2147483647 w 2456"/>
                  <a:gd name="T31" fmla="*/ 2147483647 h 2829"/>
                  <a:gd name="T32" fmla="*/ 2147483647 w 2456"/>
                  <a:gd name="T33" fmla="*/ 2147483647 h 2829"/>
                  <a:gd name="T34" fmla="*/ 2147483647 w 2456"/>
                  <a:gd name="T35" fmla="*/ 2147483647 h 2829"/>
                  <a:gd name="T36" fmla="*/ 2147483647 w 2456"/>
                  <a:gd name="T37" fmla="*/ 2147483647 h 2829"/>
                  <a:gd name="T38" fmla="*/ 2147483647 w 2456"/>
                  <a:gd name="T39" fmla="*/ 2147483647 h 2829"/>
                  <a:gd name="T40" fmla="*/ 2147483647 w 2456"/>
                  <a:gd name="T41" fmla="*/ 2147483647 h 2829"/>
                  <a:gd name="T42" fmla="*/ 2147483647 w 2456"/>
                  <a:gd name="T43" fmla="*/ 2147483647 h 2829"/>
                  <a:gd name="T44" fmla="*/ 2147483647 w 2456"/>
                  <a:gd name="T45" fmla="*/ 2147483647 h 2829"/>
                  <a:gd name="T46" fmla="*/ 2147483647 w 2456"/>
                  <a:gd name="T47" fmla="*/ 2147483647 h 2829"/>
                  <a:gd name="T48" fmla="*/ 2147483647 w 2456"/>
                  <a:gd name="T49" fmla="*/ 2147483647 h 2829"/>
                  <a:gd name="T50" fmla="*/ 2147483647 w 2456"/>
                  <a:gd name="T51" fmla="*/ 2147483647 h 2829"/>
                  <a:gd name="T52" fmla="*/ 2147483647 w 2456"/>
                  <a:gd name="T53" fmla="*/ 2147483647 h 2829"/>
                  <a:gd name="T54" fmla="*/ 2147483647 w 2456"/>
                  <a:gd name="T55" fmla="*/ 2147483647 h 2829"/>
                  <a:gd name="T56" fmla="*/ 2147483647 w 2456"/>
                  <a:gd name="T57" fmla="*/ 2147483647 h 2829"/>
                  <a:gd name="T58" fmla="*/ 2147483647 w 2456"/>
                  <a:gd name="T59" fmla="*/ 2147483647 h 2829"/>
                  <a:gd name="T60" fmla="*/ 2147483647 w 2456"/>
                  <a:gd name="T61" fmla="*/ 2147483647 h 2829"/>
                  <a:gd name="T62" fmla="*/ 2147483647 w 2456"/>
                  <a:gd name="T63" fmla="*/ 2147483647 h 2829"/>
                  <a:gd name="T64" fmla="*/ 2147483647 w 2456"/>
                  <a:gd name="T65" fmla="*/ 2147483647 h 2829"/>
                  <a:gd name="T66" fmla="*/ 2147483647 w 2456"/>
                  <a:gd name="T67" fmla="*/ 2147483647 h 2829"/>
                  <a:gd name="T68" fmla="*/ 2147483647 w 2456"/>
                  <a:gd name="T69" fmla="*/ 2147483647 h 2829"/>
                  <a:gd name="T70" fmla="*/ 2147483647 w 2456"/>
                  <a:gd name="T71" fmla="*/ 2147483647 h 2829"/>
                  <a:gd name="T72" fmla="*/ 2147483647 w 2456"/>
                  <a:gd name="T73" fmla="*/ 2147483647 h 2829"/>
                  <a:gd name="T74" fmla="*/ 2147483647 w 2456"/>
                  <a:gd name="T75" fmla="*/ 2147483647 h 2829"/>
                  <a:gd name="T76" fmla="*/ 2147483647 w 2456"/>
                  <a:gd name="T77" fmla="*/ 2147483647 h 2829"/>
                  <a:gd name="T78" fmla="*/ 2147483647 w 2456"/>
                  <a:gd name="T79" fmla="*/ 2147483647 h 2829"/>
                  <a:gd name="T80" fmla="*/ 2147483647 w 2456"/>
                  <a:gd name="T81" fmla="*/ 2147483647 h 2829"/>
                  <a:gd name="T82" fmla="*/ 2147483647 w 2456"/>
                  <a:gd name="T83" fmla="*/ 2147483647 h 2829"/>
                  <a:gd name="T84" fmla="*/ 2147483647 w 2456"/>
                  <a:gd name="T85" fmla="*/ 2147483647 h 2829"/>
                  <a:gd name="T86" fmla="*/ 2147483647 w 2456"/>
                  <a:gd name="T87" fmla="*/ 2147483647 h 2829"/>
                  <a:gd name="T88" fmla="*/ 2147483647 w 2456"/>
                  <a:gd name="T89" fmla="*/ 2147483647 h 2829"/>
                  <a:gd name="T90" fmla="*/ 2147483647 w 2456"/>
                  <a:gd name="T91" fmla="*/ 2147483647 h 2829"/>
                  <a:gd name="T92" fmla="*/ 2147483647 w 2456"/>
                  <a:gd name="T93" fmla="*/ 2147483647 h 2829"/>
                  <a:gd name="T94" fmla="*/ 2147483647 w 2456"/>
                  <a:gd name="T95" fmla="*/ 2147483647 h 2829"/>
                  <a:gd name="T96" fmla="*/ 2147483647 w 2456"/>
                  <a:gd name="T97" fmla="*/ 2147483647 h 2829"/>
                  <a:gd name="T98" fmla="*/ 2147483647 w 2456"/>
                  <a:gd name="T99" fmla="*/ 2147483647 h 2829"/>
                  <a:gd name="T100" fmla="*/ 2147483647 w 2456"/>
                  <a:gd name="T101" fmla="*/ 2147483647 h 282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456" h="2829">
                    <a:moveTo>
                      <a:pt x="1916" y="1497"/>
                    </a:moveTo>
                    <a:lnTo>
                      <a:pt x="1916" y="1617"/>
                    </a:lnTo>
                    <a:lnTo>
                      <a:pt x="1409" y="1497"/>
                    </a:lnTo>
                    <a:lnTo>
                      <a:pt x="1409" y="1617"/>
                    </a:lnTo>
                    <a:lnTo>
                      <a:pt x="1195" y="1617"/>
                    </a:lnTo>
                    <a:lnTo>
                      <a:pt x="1195" y="1337"/>
                    </a:lnTo>
                    <a:lnTo>
                      <a:pt x="1051" y="1337"/>
                    </a:lnTo>
                    <a:lnTo>
                      <a:pt x="1051" y="1200"/>
                    </a:lnTo>
                    <a:lnTo>
                      <a:pt x="784" y="1200"/>
                    </a:lnTo>
                    <a:lnTo>
                      <a:pt x="784" y="279"/>
                    </a:lnTo>
                    <a:lnTo>
                      <a:pt x="744" y="279"/>
                    </a:lnTo>
                    <a:lnTo>
                      <a:pt x="744" y="193"/>
                    </a:lnTo>
                    <a:lnTo>
                      <a:pt x="770" y="193"/>
                    </a:lnTo>
                    <a:lnTo>
                      <a:pt x="770" y="91"/>
                    </a:lnTo>
                    <a:lnTo>
                      <a:pt x="700" y="91"/>
                    </a:lnTo>
                    <a:lnTo>
                      <a:pt x="700" y="0"/>
                    </a:lnTo>
                    <a:lnTo>
                      <a:pt x="506" y="0"/>
                    </a:lnTo>
                    <a:lnTo>
                      <a:pt x="506" y="91"/>
                    </a:lnTo>
                    <a:lnTo>
                      <a:pt x="436" y="91"/>
                    </a:lnTo>
                    <a:lnTo>
                      <a:pt x="436" y="193"/>
                    </a:lnTo>
                    <a:lnTo>
                      <a:pt x="462" y="193"/>
                    </a:lnTo>
                    <a:lnTo>
                      <a:pt x="462" y="279"/>
                    </a:lnTo>
                    <a:lnTo>
                      <a:pt x="422" y="279"/>
                    </a:lnTo>
                    <a:lnTo>
                      <a:pt x="422" y="1200"/>
                    </a:lnTo>
                    <a:lnTo>
                      <a:pt x="156" y="1200"/>
                    </a:lnTo>
                    <a:lnTo>
                      <a:pt x="156" y="1337"/>
                    </a:lnTo>
                    <a:lnTo>
                      <a:pt x="0" y="1337"/>
                    </a:lnTo>
                    <a:lnTo>
                      <a:pt x="0" y="2829"/>
                    </a:lnTo>
                    <a:lnTo>
                      <a:pt x="2456" y="2829"/>
                    </a:lnTo>
                    <a:lnTo>
                      <a:pt x="2456" y="1617"/>
                    </a:lnTo>
                    <a:lnTo>
                      <a:pt x="1916" y="1497"/>
                    </a:lnTo>
                    <a:close/>
                    <a:moveTo>
                      <a:pt x="204" y="1773"/>
                    </a:moveTo>
                    <a:lnTo>
                      <a:pt x="422" y="1773"/>
                    </a:lnTo>
                    <a:lnTo>
                      <a:pt x="538" y="1773"/>
                    </a:lnTo>
                    <a:lnTo>
                      <a:pt x="538" y="1877"/>
                    </a:lnTo>
                    <a:lnTo>
                      <a:pt x="422" y="1877"/>
                    </a:lnTo>
                    <a:lnTo>
                      <a:pt x="204" y="1877"/>
                    </a:lnTo>
                    <a:lnTo>
                      <a:pt x="204" y="1773"/>
                    </a:lnTo>
                    <a:close/>
                    <a:moveTo>
                      <a:pt x="538" y="1645"/>
                    </a:moveTo>
                    <a:lnTo>
                      <a:pt x="422" y="1645"/>
                    </a:lnTo>
                    <a:lnTo>
                      <a:pt x="204" y="1645"/>
                    </a:lnTo>
                    <a:lnTo>
                      <a:pt x="204" y="1541"/>
                    </a:lnTo>
                    <a:lnTo>
                      <a:pt x="422" y="1541"/>
                    </a:lnTo>
                    <a:lnTo>
                      <a:pt x="538" y="1541"/>
                    </a:lnTo>
                    <a:lnTo>
                      <a:pt x="538" y="1645"/>
                    </a:lnTo>
                    <a:close/>
                    <a:moveTo>
                      <a:pt x="538" y="2575"/>
                    </a:moveTo>
                    <a:lnTo>
                      <a:pt x="204" y="2575"/>
                    </a:lnTo>
                    <a:lnTo>
                      <a:pt x="204" y="2472"/>
                    </a:lnTo>
                    <a:lnTo>
                      <a:pt x="538" y="2472"/>
                    </a:lnTo>
                    <a:lnTo>
                      <a:pt x="538" y="2575"/>
                    </a:lnTo>
                    <a:close/>
                    <a:moveTo>
                      <a:pt x="538" y="2342"/>
                    </a:moveTo>
                    <a:lnTo>
                      <a:pt x="204" y="2342"/>
                    </a:lnTo>
                    <a:lnTo>
                      <a:pt x="204" y="2240"/>
                    </a:lnTo>
                    <a:lnTo>
                      <a:pt x="538" y="2240"/>
                    </a:lnTo>
                    <a:lnTo>
                      <a:pt x="538" y="2342"/>
                    </a:lnTo>
                    <a:close/>
                    <a:moveTo>
                      <a:pt x="538" y="2110"/>
                    </a:moveTo>
                    <a:lnTo>
                      <a:pt x="204" y="2110"/>
                    </a:lnTo>
                    <a:lnTo>
                      <a:pt x="204" y="2008"/>
                    </a:lnTo>
                    <a:lnTo>
                      <a:pt x="422" y="2008"/>
                    </a:lnTo>
                    <a:lnTo>
                      <a:pt x="538" y="2008"/>
                    </a:lnTo>
                    <a:lnTo>
                      <a:pt x="538" y="2082"/>
                    </a:lnTo>
                    <a:lnTo>
                      <a:pt x="538" y="2110"/>
                    </a:lnTo>
                    <a:close/>
                    <a:moveTo>
                      <a:pt x="989" y="2575"/>
                    </a:moveTo>
                    <a:lnTo>
                      <a:pt x="652" y="2575"/>
                    </a:lnTo>
                    <a:lnTo>
                      <a:pt x="652" y="2472"/>
                    </a:lnTo>
                    <a:lnTo>
                      <a:pt x="989" y="2472"/>
                    </a:lnTo>
                    <a:lnTo>
                      <a:pt x="989" y="2575"/>
                    </a:lnTo>
                    <a:close/>
                    <a:moveTo>
                      <a:pt x="989" y="2342"/>
                    </a:moveTo>
                    <a:lnTo>
                      <a:pt x="652" y="2342"/>
                    </a:lnTo>
                    <a:lnTo>
                      <a:pt x="652" y="2240"/>
                    </a:lnTo>
                    <a:lnTo>
                      <a:pt x="989" y="2240"/>
                    </a:lnTo>
                    <a:lnTo>
                      <a:pt x="989" y="2342"/>
                    </a:lnTo>
                    <a:close/>
                    <a:moveTo>
                      <a:pt x="989" y="2110"/>
                    </a:moveTo>
                    <a:lnTo>
                      <a:pt x="652" y="2110"/>
                    </a:lnTo>
                    <a:lnTo>
                      <a:pt x="652" y="2082"/>
                    </a:lnTo>
                    <a:lnTo>
                      <a:pt x="652" y="2008"/>
                    </a:lnTo>
                    <a:lnTo>
                      <a:pt x="784" y="2008"/>
                    </a:lnTo>
                    <a:lnTo>
                      <a:pt x="989" y="2008"/>
                    </a:lnTo>
                    <a:lnTo>
                      <a:pt x="989" y="2110"/>
                    </a:lnTo>
                    <a:close/>
                    <a:moveTo>
                      <a:pt x="989" y="1877"/>
                    </a:moveTo>
                    <a:lnTo>
                      <a:pt x="784" y="1877"/>
                    </a:lnTo>
                    <a:lnTo>
                      <a:pt x="652" y="1877"/>
                    </a:lnTo>
                    <a:lnTo>
                      <a:pt x="652" y="1773"/>
                    </a:lnTo>
                    <a:lnTo>
                      <a:pt x="784" y="1773"/>
                    </a:lnTo>
                    <a:lnTo>
                      <a:pt x="989" y="1773"/>
                    </a:lnTo>
                    <a:lnTo>
                      <a:pt x="989" y="1877"/>
                    </a:lnTo>
                    <a:close/>
                    <a:moveTo>
                      <a:pt x="989" y="1645"/>
                    </a:moveTo>
                    <a:lnTo>
                      <a:pt x="784" y="1645"/>
                    </a:lnTo>
                    <a:lnTo>
                      <a:pt x="652" y="1645"/>
                    </a:lnTo>
                    <a:lnTo>
                      <a:pt x="652" y="1541"/>
                    </a:lnTo>
                    <a:lnTo>
                      <a:pt x="784" y="1541"/>
                    </a:lnTo>
                    <a:lnTo>
                      <a:pt x="989" y="1541"/>
                    </a:lnTo>
                    <a:lnTo>
                      <a:pt x="989" y="1645"/>
                    </a:lnTo>
                    <a:close/>
                    <a:moveTo>
                      <a:pt x="1445" y="2583"/>
                    </a:moveTo>
                    <a:lnTo>
                      <a:pt x="1239" y="2583"/>
                    </a:lnTo>
                    <a:lnTo>
                      <a:pt x="1239" y="2426"/>
                    </a:lnTo>
                    <a:lnTo>
                      <a:pt x="1445" y="2426"/>
                    </a:lnTo>
                    <a:lnTo>
                      <a:pt x="1445" y="2583"/>
                    </a:lnTo>
                    <a:close/>
                    <a:moveTo>
                      <a:pt x="1445" y="2324"/>
                    </a:moveTo>
                    <a:lnTo>
                      <a:pt x="1239" y="2324"/>
                    </a:lnTo>
                    <a:lnTo>
                      <a:pt x="1239" y="2168"/>
                    </a:lnTo>
                    <a:lnTo>
                      <a:pt x="1445" y="2168"/>
                    </a:lnTo>
                    <a:lnTo>
                      <a:pt x="1445" y="2324"/>
                    </a:lnTo>
                    <a:close/>
                    <a:moveTo>
                      <a:pt x="1445" y="2066"/>
                    </a:moveTo>
                    <a:lnTo>
                      <a:pt x="1239" y="2066"/>
                    </a:lnTo>
                    <a:lnTo>
                      <a:pt x="1239" y="1909"/>
                    </a:lnTo>
                    <a:lnTo>
                      <a:pt x="1445" y="1909"/>
                    </a:lnTo>
                    <a:lnTo>
                      <a:pt x="1445" y="2066"/>
                    </a:lnTo>
                    <a:close/>
                    <a:moveTo>
                      <a:pt x="1744" y="2583"/>
                    </a:moveTo>
                    <a:lnTo>
                      <a:pt x="1539" y="2583"/>
                    </a:lnTo>
                    <a:lnTo>
                      <a:pt x="1539" y="2426"/>
                    </a:lnTo>
                    <a:lnTo>
                      <a:pt x="1744" y="2426"/>
                    </a:lnTo>
                    <a:lnTo>
                      <a:pt x="1744" y="2583"/>
                    </a:lnTo>
                    <a:close/>
                    <a:moveTo>
                      <a:pt x="1744" y="2324"/>
                    </a:moveTo>
                    <a:lnTo>
                      <a:pt x="1539" y="2324"/>
                    </a:lnTo>
                    <a:lnTo>
                      <a:pt x="1539" y="2168"/>
                    </a:lnTo>
                    <a:lnTo>
                      <a:pt x="1744" y="2168"/>
                    </a:lnTo>
                    <a:lnTo>
                      <a:pt x="1744" y="2324"/>
                    </a:lnTo>
                    <a:close/>
                    <a:moveTo>
                      <a:pt x="1744" y="2066"/>
                    </a:moveTo>
                    <a:lnTo>
                      <a:pt x="1539" y="2066"/>
                    </a:lnTo>
                    <a:lnTo>
                      <a:pt x="1539" y="1909"/>
                    </a:lnTo>
                    <a:lnTo>
                      <a:pt x="1744" y="1909"/>
                    </a:lnTo>
                    <a:lnTo>
                      <a:pt x="1744" y="2066"/>
                    </a:lnTo>
                    <a:close/>
                    <a:moveTo>
                      <a:pt x="2044" y="2583"/>
                    </a:moveTo>
                    <a:lnTo>
                      <a:pt x="1840" y="2583"/>
                    </a:lnTo>
                    <a:lnTo>
                      <a:pt x="1840" y="2426"/>
                    </a:lnTo>
                    <a:lnTo>
                      <a:pt x="2044" y="2426"/>
                    </a:lnTo>
                    <a:lnTo>
                      <a:pt x="2044" y="2583"/>
                    </a:lnTo>
                    <a:close/>
                    <a:moveTo>
                      <a:pt x="2044" y="2324"/>
                    </a:moveTo>
                    <a:lnTo>
                      <a:pt x="1840" y="2324"/>
                    </a:lnTo>
                    <a:lnTo>
                      <a:pt x="1840" y="2168"/>
                    </a:lnTo>
                    <a:lnTo>
                      <a:pt x="2044" y="2168"/>
                    </a:lnTo>
                    <a:lnTo>
                      <a:pt x="2044" y="2324"/>
                    </a:lnTo>
                    <a:close/>
                    <a:moveTo>
                      <a:pt x="2044" y="2066"/>
                    </a:moveTo>
                    <a:lnTo>
                      <a:pt x="1840" y="2066"/>
                    </a:lnTo>
                    <a:lnTo>
                      <a:pt x="1840" y="1909"/>
                    </a:lnTo>
                    <a:lnTo>
                      <a:pt x="2044" y="1909"/>
                    </a:lnTo>
                    <a:lnTo>
                      <a:pt x="2044" y="2066"/>
                    </a:lnTo>
                    <a:close/>
                    <a:moveTo>
                      <a:pt x="2344" y="2583"/>
                    </a:moveTo>
                    <a:lnTo>
                      <a:pt x="2140" y="2583"/>
                    </a:lnTo>
                    <a:lnTo>
                      <a:pt x="2140" y="2426"/>
                    </a:lnTo>
                    <a:lnTo>
                      <a:pt x="2344" y="2426"/>
                    </a:lnTo>
                    <a:lnTo>
                      <a:pt x="2344" y="2583"/>
                    </a:lnTo>
                    <a:close/>
                    <a:moveTo>
                      <a:pt x="2344" y="2324"/>
                    </a:moveTo>
                    <a:lnTo>
                      <a:pt x="2140" y="2324"/>
                    </a:lnTo>
                    <a:lnTo>
                      <a:pt x="2140" y="2168"/>
                    </a:lnTo>
                    <a:lnTo>
                      <a:pt x="2344" y="2168"/>
                    </a:lnTo>
                    <a:lnTo>
                      <a:pt x="2344" y="2324"/>
                    </a:lnTo>
                    <a:close/>
                    <a:moveTo>
                      <a:pt x="2344" y="2066"/>
                    </a:moveTo>
                    <a:lnTo>
                      <a:pt x="2140" y="2066"/>
                    </a:lnTo>
                    <a:lnTo>
                      <a:pt x="2140" y="1909"/>
                    </a:lnTo>
                    <a:lnTo>
                      <a:pt x="2344" y="1909"/>
                    </a:lnTo>
                    <a:lnTo>
                      <a:pt x="2344" y="2066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A5A6A9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636" dirty="0"/>
              </a:p>
            </p:txBody>
          </p:sp>
          <p:sp>
            <p:nvSpPr>
              <p:cNvPr id="82" name="Freeform 64"/>
              <p:cNvSpPr>
                <a:spLocks/>
              </p:cNvSpPr>
              <p:nvPr/>
            </p:nvSpPr>
            <p:spPr bwMode="auto">
              <a:xfrm>
                <a:off x="1379538" y="7466012"/>
                <a:ext cx="2193925" cy="1344613"/>
              </a:xfrm>
              <a:custGeom>
                <a:avLst/>
                <a:gdLst>
                  <a:gd name="T0" fmla="*/ 2147483647 w 690"/>
                  <a:gd name="T1" fmla="*/ 2147483647 h 423"/>
                  <a:gd name="T2" fmla="*/ 2147483647 w 690"/>
                  <a:gd name="T3" fmla="*/ 2147483647 h 423"/>
                  <a:gd name="T4" fmla="*/ 2147483647 w 690"/>
                  <a:gd name="T5" fmla="*/ 2147483647 h 423"/>
                  <a:gd name="T6" fmla="*/ 2147483647 w 690"/>
                  <a:gd name="T7" fmla="*/ 2147483647 h 423"/>
                  <a:gd name="T8" fmla="*/ 2147483647 w 690"/>
                  <a:gd name="T9" fmla="*/ 2147483647 h 423"/>
                  <a:gd name="T10" fmla="*/ 2147483647 w 690"/>
                  <a:gd name="T11" fmla="*/ 2147483647 h 423"/>
                  <a:gd name="T12" fmla="*/ 2147483647 w 690"/>
                  <a:gd name="T13" fmla="*/ 0 h 423"/>
                  <a:gd name="T14" fmla="*/ 2147483647 w 690"/>
                  <a:gd name="T15" fmla="*/ 2147483647 h 423"/>
                  <a:gd name="T16" fmla="*/ 2147483647 w 690"/>
                  <a:gd name="T17" fmla="*/ 2147483647 h 423"/>
                  <a:gd name="T18" fmla="*/ 2147483647 w 690"/>
                  <a:gd name="T19" fmla="*/ 2147483647 h 423"/>
                  <a:gd name="T20" fmla="*/ 2147483647 w 690"/>
                  <a:gd name="T21" fmla="*/ 2147483647 h 423"/>
                  <a:gd name="T22" fmla="*/ 2147483647 w 690"/>
                  <a:gd name="T23" fmla="*/ 2147483647 h 423"/>
                  <a:gd name="T24" fmla="*/ 0 w 690"/>
                  <a:gd name="T25" fmla="*/ 2147483647 h 423"/>
                  <a:gd name="T26" fmla="*/ 2147483647 w 690"/>
                  <a:gd name="T27" fmla="*/ 2147483647 h 42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90" h="423">
                    <a:moveTo>
                      <a:pt x="117" y="423"/>
                    </a:moveTo>
                    <a:cubicBezTo>
                      <a:pt x="170" y="423"/>
                      <a:pt x="215" y="393"/>
                      <a:pt x="229" y="352"/>
                    </a:cubicBezTo>
                    <a:cubicBezTo>
                      <a:pt x="242" y="355"/>
                      <a:pt x="254" y="357"/>
                      <a:pt x="268" y="357"/>
                    </a:cubicBezTo>
                    <a:cubicBezTo>
                      <a:pt x="317" y="357"/>
                      <a:pt x="361" y="332"/>
                      <a:pt x="387" y="296"/>
                    </a:cubicBezTo>
                    <a:cubicBezTo>
                      <a:pt x="418" y="313"/>
                      <a:pt x="455" y="323"/>
                      <a:pt x="496" y="323"/>
                    </a:cubicBezTo>
                    <a:cubicBezTo>
                      <a:pt x="603" y="323"/>
                      <a:pt x="690" y="251"/>
                      <a:pt x="690" y="162"/>
                    </a:cubicBezTo>
                    <a:cubicBezTo>
                      <a:pt x="690" y="73"/>
                      <a:pt x="603" y="0"/>
                      <a:pt x="496" y="0"/>
                    </a:cubicBezTo>
                    <a:cubicBezTo>
                      <a:pt x="420" y="0"/>
                      <a:pt x="354" y="36"/>
                      <a:pt x="322" y="89"/>
                    </a:cubicBezTo>
                    <a:cubicBezTo>
                      <a:pt x="305" y="82"/>
                      <a:pt x="287" y="78"/>
                      <a:pt x="268" y="78"/>
                    </a:cubicBezTo>
                    <a:cubicBezTo>
                      <a:pt x="188" y="78"/>
                      <a:pt x="123" y="141"/>
                      <a:pt x="123" y="217"/>
                    </a:cubicBezTo>
                    <a:cubicBezTo>
                      <a:pt x="123" y="219"/>
                      <a:pt x="123" y="221"/>
                      <a:pt x="123" y="223"/>
                    </a:cubicBezTo>
                    <a:cubicBezTo>
                      <a:pt x="121" y="223"/>
                      <a:pt x="119" y="223"/>
                      <a:pt x="117" y="223"/>
                    </a:cubicBezTo>
                    <a:cubicBezTo>
                      <a:pt x="53" y="223"/>
                      <a:pt x="0" y="268"/>
                      <a:pt x="0" y="323"/>
                    </a:cubicBezTo>
                    <a:cubicBezTo>
                      <a:pt x="0" y="378"/>
                      <a:pt x="53" y="423"/>
                      <a:pt x="117" y="423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A5A6A9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sz="1636" dirty="0"/>
              </a:p>
            </p:txBody>
          </p:sp>
        </p:grpSp>
      </p:grpSp>
      <p:sp>
        <p:nvSpPr>
          <p:cNvPr id="7" name="Прямоугольник 6"/>
          <p:cNvSpPr/>
          <p:nvPr/>
        </p:nvSpPr>
        <p:spPr>
          <a:xfrm>
            <a:off x="5674234" y="1049752"/>
            <a:ext cx="5966381" cy="2669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>
              <a:spcAft>
                <a:spcPts val="300"/>
              </a:spcAft>
            </a:pPr>
            <a:r>
              <a:rPr lang="ru-RU" sz="2000" dirty="0">
                <a:solidFill>
                  <a:srgbClr val="164463"/>
                </a:solidFill>
                <a:latin typeface="+mj-lt"/>
                <a:ea typeface="Batang"/>
                <a:cs typeface="Times New Roman" pitchFamily="18" charset="0"/>
              </a:rPr>
              <a:t>Долгосрочная производственная Стратегия Компании имеет следующие безусловные векторы развития</a:t>
            </a:r>
            <a:r>
              <a:rPr lang="ru-RU" sz="2000" dirty="0" smtClean="0">
                <a:solidFill>
                  <a:srgbClr val="164463"/>
                </a:solidFill>
                <a:latin typeface="+mj-lt"/>
                <a:ea typeface="Batang"/>
                <a:cs typeface="Times New Roman" pitchFamily="18" charset="0"/>
              </a:rPr>
              <a:t>:</a:t>
            </a:r>
          </a:p>
          <a:p>
            <a:pPr indent="357188" algn="just">
              <a:spcAft>
                <a:spcPts val="300"/>
              </a:spcAft>
            </a:pPr>
            <a:endParaRPr lang="ru-RU" sz="2000" dirty="0">
              <a:solidFill>
                <a:srgbClr val="164463"/>
              </a:solidFill>
              <a:latin typeface="+mj-lt"/>
              <a:ea typeface="Batang"/>
              <a:cs typeface="Times New Roman" pitchFamily="18" charset="0"/>
            </a:endParaRPr>
          </a:p>
          <a:p>
            <a:pPr marL="357188">
              <a:spcAft>
                <a:spcPts val="300"/>
              </a:spcAft>
            </a:pPr>
            <a:r>
              <a:rPr lang="ru-RU" sz="2000" b="1" dirty="0">
                <a:solidFill>
                  <a:srgbClr val="164463"/>
                </a:solidFill>
                <a:latin typeface="+mj-lt"/>
                <a:ea typeface="Batang"/>
                <a:cs typeface="Times New Roman" pitchFamily="18" charset="0"/>
              </a:rPr>
              <a:t>модернизация производства в глобальном масштабе;</a:t>
            </a:r>
          </a:p>
          <a:p>
            <a:pPr marL="357188">
              <a:spcAft>
                <a:spcPts val="300"/>
              </a:spcAft>
            </a:pPr>
            <a:r>
              <a:rPr lang="ru-RU" sz="2000" b="1" dirty="0">
                <a:solidFill>
                  <a:srgbClr val="164463"/>
                </a:solidFill>
                <a:latin typeface="+mj-lt"/>
                <a:ea typeface="Batang"/>
                <a:cs typeface="Times New Roman" pitchFamily="18" charset="0"/>
              </a:rPr>
              <a:t>повышение экологической безопасности производства.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3985542" y="2941182"/>
            <a:ext cx="421239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800" dirty="0">
                <a:solidFill>
                  <a:srgbClr val="000000"/>
                </a:solidFill>
              </a:rPr>
              <a:t>ТОФ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3913534" y="3085198"/>
            <a:ext cx="421239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800" dirty="0">
                <a:solidFill>
                  <a:srgbClr val="000000"/>
                </a:solidFill>
              </a:rPr>
              <a:t>НОФ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409478" y="2941182"/>
            <a:ext cx="421239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800" dirty="0">
                <a:solidFill>
                  <a:srgbClr val="000000"/>
                </a:solidFill>
              </a:rPr>
              <a:t>НМЗ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614693" y="3034095"/>
            <a:ext cx="421239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800" dirty="0">
                <a:solidFill>
                  <a:srgbClr val="000000"/>
                </a:solidFill>
              </a:rPr>
              <a:t>МЗ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4244737" y="2892853"/>
            <a:ext cx="421239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800" dirty="0">
                <a:solidFill>
                  <a:srgbClr val="000000"/>
                </a:solidFill>
              </a:rPr>
              <a:t>НЗ</a:t>
            </a:r>
            <a:endParaRPr lang="en-GB" sz="800" dirty="0">
              <a:solidFill>
                <a:srgbClr val="000000"/>
              </a:solidFill>
            </a:endParaRPr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730" y="4957406"/>
            <a:ext cx="180399" cy="206809"/>
          </a:xfrm>
          <a:prstGeom prst="rect">
            <a:avLst/>
          </a:prstGeom>
        </p:spPr>
      </p:pic>
      <p:sp>
        <p:nvSpPr>
          <p:cNvPr id="66" name="TextBox 65"/>
          <p:cNvSpPr txBox="1"/>
          <p:nvPr/>
        </p:nvSpPr>
        <p:spPr>
          <a:xfrm>
            <a:off x="1405749" y="5024304"/>
            <a:ext cx="720698" cy="1399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909" dirty="0">
                <a:solidFill>
                  <a:srgbClr val="000000"/>
                </a:solidFill>
              </a:rPr>
              <a:t>Закрытие</a:t>
            </a:r>
            <a:endParaRPr lang="en-GB" sz="909" dirty="0">
              <a:solidFill>
                <a:srgbClr val="00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674235" y="3663476"/>
            <a:ext cx="5966381" cy="2470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>
              <a:lnSpc>
                <a:spcPct val="107000"/>
              </a:lnSpc>
              <a:spcAft>
                <a:spcPts val="800"/>
              </a:spcAft>
            </a:pPr>
            <a:endParaRPr lang="ru-RU" sz="2000" dirty="0" smtClean="0">
              <a:solidFill>
                <a:srgbClr val="164463"/>
              </a:solidFill>
              <a:ea typeface="Batang"/>
              <a:cs typeface="Times New Roman" pitchFamily="18" charset="0"/>
            </a:endParaRPr>
          </a:p>
          <a:p>
            <a:pPr indent="265113"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 smtClean="0">
                <a:solidFill>
                  <a:srgbClr val="164463"/>
                </a:solidFill>
                <a:ea typeface="Batang"/>
                <a:cs typeface="Times New Roman" pitchFamily="18" charset="0"/>
              </a:rPr>
              <a:t>До </a:t>
            </a: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2023 года инвестиции в глобальную модернизацию и реконфигурацию производства «</a:t>
            </a:r>
            <a:r>
              <a:rPr lang="ru-RU" sz="2000" dirty="0" err="1">
                <a:solidFill>
                  <a:srgbClr val="164463"/>
                </a:solidFill>
                <a:ea typeface="Batang"/>
                <a:cs typeface="Times New Roman" pitchFamily="18" charset="0"/>
              </a:rPr>
              <a:t>Норникеля</a:t>
            </a: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» составят порядка одного триллиона рублей, в том числе на проекты экологической направленности - до 250 млрд рублей. </a:t>
            </a:r>
          </a:p>
        </p:txBody>
      </p:sp>
      <p:sp>
        <p:nvSpPr>
          <p:cNvPr id="83" name="Овал 82"/>
          <p:cNvSpPr/>
          <p:nvPr/>
        </p:nvSpPr>
        <p:spPr bwMode="auto">
          <a:xfrm>
            <a:off x="5588096" y="2323543"/>
            <a:ext cx="432000" cy="432000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85750" indent="-285750" algn="ctr" defTabSz="914218" eaLnBrk="0" hangingPunct="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36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84" name="Овал 83"/>
          <p:cNvSpPr/>
          <p:nvPr/>
        </p:nvSpPr>
        <p:spPr bwMode="auto">
          <a:xfrm>
            <a:off x="5588096" y="2981119"/>
            <a:ext cx="432000" cy="432000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85750" indent="-285750" algn="ctr" defTabSz="914218" eaLnBrk="0" hangingPunct="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3600" dirty="0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4671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EAAE0C-34C4-4CF4-8C95-E443F085D2CE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sp>
        <p:nvSpPr>
          <p:cNvPr id="6" name="Rounded Rectangle 591"/>
          <p:cNvSpPr/>
          <p:nvPr/>
        </p:nvSpPr>
        <p:spPr bwMode="auto">
          <a:xfrm>
            <a:off x="432326" y="2567252"/>
            <a:ext cx="2458631" cy="1944216"/>
          </a:xfrm>
          <a:prstGeom prst="roundRect">
            <a:avLst/>
          </a:prstGeom>
          <a:noFill/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12637">
              <a:buClr>
                <a:srgbClr val="FFFFFF"/>
              </a:buClr>
            </a:pPr>
            <a:r>
              <a:rPr lang="ru-RU" sz="2000" b="1" kern="0" dirty="0"/>
              <a:t>Эффекты </a:t>
            </a:r>
          </a:p>
          <a:p>
            <a:pPr algn="ctr" defTabSz="812637">
              <a:buClr>
                <a:srgbClr val="FFFFFF"/>
              </a:buClr>
            </a:pPr>
            <a:r>
              <a:rPr lang="ru-RU" sz="2000" b="1" kern="0" dirty="0" smtClean="0"/>
              <a:t>реконфигурации производства</a:t>
            </a:r>
            <a:endParaRPr lang="en-US" sz="2000" b="1" kern="0" dirty="0"/>
          </a:p>
        </p:txBody>
      </p:sp>
      <p:sp>
        <p:nvSpPr>
          <p:cNvPr id="7" name="Rounded Rectangle 591"/>
          <p:cNvSpPr/>
          <p:nvPr/>
        </p:nvSpPr>
        <p:spPr bwMode="auto">
          <a:xfrm>
            <a:off x="3695089" y="1484784"/>
            <a:ext cx="7848872" cy="4109152"/>
          </a:xfrm>
          <a:prstGeom prst="roundRect">
            <a:avLst/>
          </a:prstGeom>
          <a:solidFill>
            <a:srgbClr val="9CBAD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  <a:tabLst>
                <a:tab pos="457200" algn="l"/>
              </a:tabLst>
            </a:pP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Закрытие старейшего предприятия Заполярного филиала - Никелевого завода в Норильске. Выбросы диоксида серы сократились на 35%, экологическая обстановка в городской черте существенно улучшилась.</a:t>
            </a:r>
          </a:p>
          <a:p>
            <a:pPr algn="just">
              <a:spcAft>
                <a:spcPts val="600"/>
              </a:spcAft>
              <a:tabLst>
                <a:tab pos="457200" algn="l"/>
              </a:tabLst>
            </a:pP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Сокращение времени загрязнения атмосферного воздуха в жилой зоне г. Норильска выше уровня предельно допустимых концентраций в период НМУ.</a:t>
            </a:r>
          </a:p>
          <a:p>
            <a:pPr algn="just">
              <a:spcAft>
                <a:spcPts val="600"/>
              </a:spcAft>
              <a:tabLst>
                <a:tab pos="457200" algn="l"/>
              </a:tabLst>
            </a:pP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Общее сокращение себестоимости и увеличение извлечения металлов.</a:t>
            </a:r>
          </a:p>
          <a:p>
            <a:pPr algn="just">
              <a:spcAft>
                <a:spcPts val="600"/>
              </a:spcAft>
              <a:tabLst>
                <a:tab pos="457200" algn="l"/>
              </a:tabLst>
            </a:pP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Снижение потребления электроэнергии и газа Заполярным филиалом.</a:t>
            </a:r>
          </a:p>
        </p:txBody>
      </p:sp>
      <p:sp>
        <p:nvSpPr>
          <p:cNvPr id="9" name="Овал 8"/>
          <p:cNvSpPr/>
          <p:nvPr/>
        </p:nvSpPr>
        <p:spPr bwMode="auto">
          <a:xfrm>
            <a:off x="3144057" y="1737899"/>
            <a:ext cx="432000" cy="432000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85750" indent="-285750" algn="ctr" defTabSz="914218" eaLnBrk="0" hangingPunct="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36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0" name="Овал 9"/>
          <p:cNvSpPr/>
          <p:nvPr/>
        </p:nvSpPr>
        <p:spPr bwMode="auto">
          <a:xfrm>
            <a:off x="3141672" y="2939703"/>
            <a:ext cx="432000" cy="432000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85750" indent="-285750" algn="ctr" defTabSz="914218" eaLnBrk="0" hangingPunct="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36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1" name="Овал 10"/>
          <p:cNvSpPr/>
          <p:nvPr/>
        </p:nvSpPr>
        <p:spPr bwMode="auto">
          <a:xfrm>
            <a:off x="3141672" y="4022953"/>
            <a:ext cx="432000" cy="432000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85750" indent="-285750" algn="ctr" defTabSz="914218" eaLnBrk="0" hangingPunct="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36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2" name="Овал 11"/>
          <p:cNvSpPr/>
          <p:nvPr/>
        </p:nvSpPr>
        <p:spPr bwMode="auto">
          <a:xfrm>
            <a:off x="3141672" y="4674203"/>
            <a:ext cx="432000" cy="432000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85750" indent="-285750" algn="ctr" defTabSz="914218" eaLnBrk="0" hangingPunct="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36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3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10582" y="126137"/>
            <a:ext cx="7571157" cy="815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1183" rIns="0" bIns="41183" numCol="1" anchor="t" anchorCtr="0" compatLnSpc="1">
            <a:prstTxWarp prst="textNoShape">
              <a:avLst/>
            </a:prstTxWarp>
          </a:bodyPr>
          <a:lstStyle>
            <a:lvl1pPr marL="336550" indent="-33655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FF0000"/>
              </a:buClr>
              <a:buFont typeface="Arial" pitchFamily="34" charset="0"/>
              <a:buChar char="•"/>
              <a:defRPr sz="12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7650" indent="-2460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Arial Unicode MS" pitchFamily="34" charset="-128"/>
                <a:cs typeface="+mn-cs"/>
              </a:defRPr>
            </a:lvl2pPr>
            <a:lvl3pPr marL="520700" indent="-2667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SzPct val="150000"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4225" indent="-257175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7750" indent="-2587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330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6167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9065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6195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  <a:tabLst>
                <a:tab pos="4870814" algn="l"/>
              </a:tabLst>
              <a:defRPr/>
            </a:pPr>
            <a:r>
              <a:rPr lang="ru-RU" sz="2000" dirty="0">
                <a:solidFill>
                  <a:srgbClr val="0077C8"/>
                </a:solidFill>
                <a:latin typeface="+mj-lt"/>
                <a:ea typeface="+mj-ea"/>
                <a:cs typeface="+mj-cs"/>
              </a:rPr>
              <a:t>Программа реконфигурации производственных мощностей и экологические задачи </a:t>
            </a:r>
            <a:r>
              <a:rPr lang="ru-RU" sz="2000" dirty="0" smtClean="0">
                <a:solidFill>
                  <a:srgbClr val="0077C8"/>
                </a:solidFill>
                <a:latin typeface="+mj-lt"/>
                <a:ea typeface="+mj-ea"/>
                <a:cs typeface="+mj-cs"/>
              </a:rPr>
              <a:t>Компании (2/2)</a:t>
            </a:r>
            <a:endParaRPr lang="en-US" altLang="zh-CN" sz="2000" dirty="0">
              <a:solidFill>
                <a:srgbClr val="0077C8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18187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11496600" y="6525344"/>
            <a:ext cx="322836" cy="192087"/>
          </a:xfrm>
        </p:spPr>
        <p:txBody>
          <a:bodyPr/>
          <a:lstStyle/>
          <a:p>
            <a:pPr>
              <a:defRPr/>
            </a:pPr>
            <a:fld id="{22EAAE0C-34C4-4CF4-8C95-E443F085D2CE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14304" y="1040113"/>
            <a:ext cx="6831467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Bef>
                <a:spcPts val="600"/>
              </a:spcBef>
              <a:spcAft>
                <a:spcPts val="300"/>
              </a:spcAft>
              <a:buSzPct val="50000"/>
            </a:pPr>
            <a:r>
              <a:rPr lang="ru-RU" b="1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Инвестиции: порядка 200 млрд рублей.</a:t>
            </a:r>
          </a:p>
          <a:p>
            <a:pPr algn="just" fontAlgn="base">
              <a:spcBef>
                <a:spcPts val="600"/>
              </a:spcBef>
              <a:spcAft>
                <a:spcPts val="300"/>
              </a:spcAft>
              <a:buSzPct val="50000"/>
            </a:pPr>
            <a:r>
              <a:rPr lang="ru-RU" b="1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Мощность:</a:t>
            </a:r>
            <a:r>
              <a:rPr lang="en-US" b="1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 </a:t>
            </a:r>
            <a:r>
              <a:rPr lang="ru-RU" b="1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до 600 тыс. тонн.</a:t>
            </a:r>
          </a:p>
          <a:p>
            <a:pPr algn="just" fontAlgn="base">
              <a:spcBef>
                <a:spcPts val="600"/>
              </a:spcBef>
              <a:spcAft>
                <a:spcPts val="300"/>
              </a:spcAft>
              <a:buSzPct val="50000"/>
            </a:pPr>
            <a:r>
              <a:rPr lang="ru-RU" b="1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Факторы высокой стоимости проекта: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30"/>
          <a:stretch/>
        </p:blipFill>
        <p:spPr>
          <a:xfrm>
            <a:off x="9743227" y="4470515"/>
            <a:ext cx="1920663" cy="1626061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484709" y="2383187"/>
            <a:ext cx="2405905" cy="948487"/>
            <a:chOff x="342901" y="2878922"/>
            <a:chExt cx="2270091" cy="678099"/>
          </a:xfrm>
          <a:solidFill>
            <a:schemeClr val="accent2"/>
          </a:solidFill>
        </p:grpSpPr>
        <p:grpSp>
          <p:nvGrpSpPr>
            <p:cNvPr id="36" name="Group 3"/>
            <p:cNvGrpSpPr>
              <a:grpSpLocks/>
            </p:cNvGrpSpPr>
            <p:nvPr/>
          </p:nvGrpSpPr>
          <p:grpSpPr bwMode="auto">
            <a:xfrm>
              <a:off x="2472275" y="2878922"/>
              <a:ext cx="140717" cy="678098"/>
              <a:chOff x="2592" y="1586"/>
              <a:chExt cx="333" cy="1907"/>
            </a:xfrm>
            <a:grpFill/>
          </p:grpSpPr>
          <p:sp>
            <p:nvSpPr>
              <p:cNvPr id="38" name="Rectangle 4"/>
              <p:cNvSpPr>
                <a:spLocks noChangeArrowheads="1"/>
              </p:cNvSpPr>
              <p:nvPr/>
            </p:nvSpPr>
            <p:spPr bwMode="auto">
              <a:xfrm>
                <a:off x="2629" y="1586"/>
                <a:ext cx="69" cy="1907"/>
              </a:xfrm>
              <a:prstGeom prst="rect">
                <a:avLst/>
              </a:prstGeom>
              <a:grp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>
                  <a:solidFill>
                    <a:srgbClr val="000000"/>
                  </a:solidFill>
                  <a:ea typeface="Batang"/>
                  <a:cs typeface="Arial"/>
                </a:endParaRPr>
              </a:p>
            </p:txBody>
          </p:sp>
          <p:sp>
            <p:nvSpPr>
              <p:cNvPr id="39" name="Freeform 5"/>
              <p:cNvSpPr>
                <a:spLocks/>
              </p:cNvSpPr>
              <p:nvPr/>
            </p:nvSpPr>
            <p:spPr bwMode="auto">
              <a:xfrm>
                <a:off x="2592" y="2249"/>
                <a:ext cx="333" cy="580"/>
              </a:xfrm>
              <a:custGeom>
                <a:avLst/>
                <a:gdLst>
                  <a:gd name="T0" fmla="*/ 0 w 240"/>
                  <a:gd name="T1" fmla="*/ 34 h 136"/>
                  <a:gd name="T2" fmla="*/ 110 w 240"/>
                  <a:gd name="T3" fmla="*/ 34 h 136"/>
                  <a:gd name="T4" fmla="*/ 110 w 240"/>
                  <a:gd name="T5" fmla="*/ 0 h 136"/>
                  <a:gd name="T6" fmla="*/ 240 w 240"/>
                  <a:gd name="T7" fmla="*/ 68 h 136"/>
                  <a:gd name="T8" fmla="*/ 106 w 240"/>
                  <a:gd name="T9" fmla="*/ 136 h 136"/>
                  <a:gd name="T10" fmla="*/ 106 w 240"/>
                  <a:gd name="T11" fmla="*/ 102 h 136"/>
                  <a:gd name="T12" fmla="*/ 2 w 240"/>
                  <a:gd name="T13" fmla="*/ 102 h 1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0"/>
                  <a:gd name="T22" fmla="*/ 0 h 136"/>
                  <a:gd name="T23" fmla="*/ 240 w 240"/>
                  <a:gd name="T24" fmla="*/ 136 h 1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0" h="136">
                    <a:moveTo>
                      <a:pt x="0" y="34"/>
                    </a:moveTo>
                    <a:lnTo>
                      <a:pt x="110" y="34"/>
                    </a:lnTo>
                    <a:lnTo>
                      <a:pt x="110" y="0"/>
                    </a:lnTo>
                    <a:lnTo>
                      <a:pt x="240" y="68"/>
                    </a:lnTo>
                    <a:lnTo>
                      <a:pt x="106" y="136"/>
                    </a:lnTo>
                    <a:lnTo>
                      <a:pt x="106" y="102"/>
                    </a:lnTo>
                    <a:lnTo>
                      <a:pt x="2" y="102"/>
                    </a:lnTo>
                  </a:path>
                </a:pathLst>
              </a:custGeom>
              <a:grpFill/>
              <a:ln w="22225">
                <a:solidFill>
                  <a:srgbClr val="14446C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>
                  <a:solidFill>
                    <a:srgbClr val="000000"/>
                  </a:solidFill>
                  <a:ea typeface="Batang"/>
                  <a:cs typeface="Arial"/>
                </a:endParaRPr>
              </a:p>
            </p:txBody>
          </p:sp>
        </p:grpSp>
        <p:sp>
          <p:nvSpPr>
            <p:cNvPr id="37" name="Прямоугольник 36"/>
            <p:cNvSpPr/>
            <p:nvPr/>
          </p:nvSpPr>
          <p:spPr bwMode="auto">
            <a:xfrm>
              <a:off x="342901" y="2878923"/>
              <a:ext cx="2117832" cy="678098"/>
            </a:xfrm>
            <a:prstGeom prst="rect">
              <a:avLst/>
            </a:prstGeom>
            <a:grpFill/>
            <a:ln w="6350">
              <a:noFill/>
              <a:miter lim="800000"/>
              <a:headEnd/>
              <a:tailEnd/>
            </a:ln>
            <a:extLst/>
          </p:spPr>
          <p:txBody>
            <a:bodyPr wrap="none" lIns="108000" tIns="108000" rIns="108000" bIns="1080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kern="0" dirty="0" smtClean="0">
                  <a:solidFill>
                    <a:srgbClr val="FFFFFF"/>
                  </a:solidFill>
                  <a:ea typeface="Batang"/>
                  <a:cs typeface="Arial"/>
                </a:rPr>
                <a:t>Уникальная</a:t>
              </a:r>
              <a:br>
                <a:rPr lang="ru-RU" sz="1600" b="1" kern="0" dirty="0" smtClean="0">
                  <a:solidFill>
                    <a:srgbClr val="FFFFFF"/>
                  </a:solidFill>
                  <a:ea typeface="Batang"/>
                  <a:cs typeface="Arial"/>
                </a:rPr>
              </a:br>
              <a:r>
                <a:rPr lang="ru-RU" sz="1600" b="1" kern="0" dirty="0" smtClean="0">
                  <a:solidFill>
                    <a:srgbClr val="FFFFFF"/>
                  </a:solidFill>
                  <a:ea typeface="Batang"/>
                  <a:cs typeface="Arial"/>
                </a:rPr>
                <a:t> </a:t>
              </a:r>
              <a:r>
                <a:rPr lang="ru-RU" sz="1600" b="1" kern="0" dirty="0">
                  <a:solidFill>
                    <a:srgbClr val="FFFFFF"/>
                  </a:solidFill>
                  <a:ea typeface="Batang"/>
                  <a:cs typeface="Arial"/>
                </a:rPr>
                <a:t>технология</a:t>
              </a:r>
            </a:p>
          </p:txBody>
        </p:sp>
      </p:grpSp>
      <p:sp>
        <p:nvSpPr>
          <p:cNvPr id="40" name="Прямоугольник 39"/>
          <p:cNvSpPr/>
          <p:nvPr/>
        </p:nvSpPr>
        <p:spPr>
          <a:xfrm>
            <a:off x="2890613" y="2273300"/>
            <a:ext cx="635900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Технология концентрирования </a:t>
            </a:r>
            <a:r>
              <a:rPr lang="en-US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SO</a:t>
            </a:r>
            <a:r>
              <a:rPr lang="en-US" sz="1600" baseline="-25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2</a:t>
            </a:r>
            <a:r>
              <a:rPr lang="en-US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 </a:t>
            </a:r>
            <a:r>
              <a:rPr lang="ru-RU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с производством элементарной серы уникальна, </a:t>
            </a:r>
            <a:r>
              <a:rPr lang="ru-RU" sz="1600" dirty="0" smtClean="0">
                <a:solidFill>
                  <a:srgbClr val="164463"/>
                </a:solidFill>
                <a:ea typeface="Batang"/>
                <a:cs typeface="Times New Roman" pitchFamily="18" charset="0"/>
              </a:rPr>
              <a:t>чаще используется </a:t>
            </a:r>
            <a:r>
              <a:rPr lang="ru-RU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более </a:t>
            </a:r>
            <a:r>
              <a:rPr lang="ru-RU" sz="1600" dirty="0" smtClean="0">
                <a:solidFill>
                  <a:srgbClr val="164463"/>
                </a:solidFill>
                <a:ea typeface="Batang"/>
                <a:cs typeface="Times New Roman" pitchFamily="18" charset="0"/>
              </a:rPr>
              <a:t>простая технология </a:t>
            </a:r>
            <a:r>
              <a:rPr lang="ru-RU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с производством серной кислоты. Стоимость инвестиций в технологию концентрирования </a:t>
            </a:r>
            <a:r>
              <a:rPr lang="en-US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SO</a:t>
            </a:r>
            <a:r>
              <a:rPr lang="en-US" sz="1600" baseline="-25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2</a:t>
            </a:r>
            <a:r>
              <a:rPr lang="en-US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 </a:t>
            </a:r>
            <a:r>
              <a:rPr lang="ru-RU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в 3 раза выше.</a:t>
            </a:r>
          </a:p>
        </p:txBody>
      </p:sp>
      <p:grpSp>
        <p:nvGrpSpPr>
          <p:cNvPr id="41" name="Группа 40"/>
          <p:cNvGrpSpPr/>
          <p:nvPr/>
        </p:nvGrpSpPr>
        <p:grpSpPr>
          <a:xfrm>
            <a:off x="497824" y="3541462"/>
            <a:ext cx="2392012" cy="850741"/>
            <a:chOff x="342902" y="3709919"/>
            <a:chExt cx="2270090" cy="678099"/>
          </a:xfrm>
          <a:solidFill>
            <a:schemeClr val="accent2"/>
          </a:solidFill>
        </p:grpSpPr>
        <p:grpSp>
          <p:nvGrpSpPr>
            <p:cNvPr id="42" name="Group 3"/>
            <p:cNvGrpSpPr>
              <a:grpSpLocks/>
            </p:cNvGrpSpPr>
            <p:nvPr/>
          </p:nvGrpSpPr>
          <p:grpSpPr bwMode="auto">
            <a:xfrm>
              <a:off x="2472275" y="3709919"/>
              <a:ext cx="140717" cy="678098"/>
              <a:chOff x="2592" y="1586"/>
              <a:chExt cx="333" cy="1907"/>
            </a:xfrm>
            <a:grpFill/>
          </p:grpSpPr>
          <p:sp>
            <p:nvSpPr>
              <p:cNvPr id="44" name="Rectangle 4"/>
              <p:cNvSpPr>
                <a:spLocks noChangeArrowheads="1"/>
              </p:cNvSpPr>
              <p:nvPr/>
            </p:nvSpPr>
            <p:spPr bwMode="auto">
              <a:xfrm>
                <a:off x="2629" y="1586"/>
                <a:ext cx="69" cy="1907"/>
              </a:xfrm>
              <a:prstGeom prst="rect">
                <a:avLst/>
              </a:prstGeom>
              <a:grp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>
                  <a:solidFill>
                    <a:srgbClr val="000000"/>
                  </a:solidFill>
                  <a:ea typeface="Batang"/>
                  <a:cs typeface="Arial"/>
                </a:endParaRPr>
              </a:p>
            </p:txBody>
          </p:sp>
          <p:sp>
            <p:nvSpPr>
              <p:cNvPr id="45" name="Freeform 5"/>
              <p:cNvSpPr>
                <a:spLocks/>
              </p:cNvSpPr>
              <p:nvPr/>
            </p:nvSpPr>
            <p:spPr bwMode="auto">
              <a:xfrm>
                <a:off x="2592" y="2249"/>
                <a:ext cx="333" cy="580"/>
              </a:xfrm>
              <a:custGeom>
                <a:avLst/>
                <a:gdLst>
                  <a:gd name="T0" fmla="*/ 0 w 240"/>
                  <a:gd name="T1" fmla="*/ 34 h 136"/>
                  <a:gd name="T2" fmla="*/ 110 w 240"/>
                  <a:gd name="T3" fmla="*/ 34 h 136"/>
                  <a:gd name="T4" fmla="*/ 110 w 240"/>
                  <a:gd name="T5" fmla="*/ 0 h 136"/>
                  <a:gd name="T6" fmla="*/ 240 w 240"/>
                  <a:gd name="T7" fmla="*/ 68 h 136"/>
                  <a:gd name="T8" fmla="*/ 106 w 240"/>
                  <a:gd name="T9" fmla="*/ 136 h 136"/>
                  <a:gd name="T10" fmla="*/ 106 w 240"/>
                  <a:gd name="T11" fmla="*/ 102 h 136"/>
                  <a:gd name="T12" fmla="*/ 2 w 240"/>
                  <a:gd name="T13" fmla="*/ 102 h 1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0"/>
                  <a:gd name="T22" fmla="*/ 0 h 136"/>
                  <a:gd name="T23" fmla="*/ 240 w 240"/>
                  <a:gd name="T24" fmla="*/ 136 h 1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0" h="136">
                    <a:moveTo>
                      <a:pt x="0" y="34"/>
                    </a:moveTo>
                    <a:lnTo>
                      <a:pt x="110" y="34"/>
                    </a:lnTo>
                    <a:lnTo>
                      <a:pt x="110" y="0"/>
                    </a:lnTo>
                    <a:lnTo>
                      <a:pt x="240" y="68"/>
                    </a:lnTo>
                    <a:lnTo>
                      <a:pt x="106" y="136"/>
                    </a:lnTo>
                    <a:lnTo>
                      <a:pt x="106" y="102"/>
                    </a:lnTo>
                    <a:lnTo>
                      <a:pt x="2" y="102"/>
                    </a:lnTo>
                  </a:path>
                </a:pathLst>
              </a:custGeom>
              <a:grpFill/>
              <a:ln w="22225">
                <a:solidFill>
                  <a:srgbClr val="14446C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>
                  <a:solidFill>
                    <a:srgbClr val="000000"/>
                  </a:solidFill>
                  <a:ea typeface="Batang"/>
                  <a:cs typeface="Arial"/>
                </a:endParaRPr>
              </a:p>
            </p:txBody>
          </p:sp>
        </p:grpSp>
        <p:sp>
          <p:nvSpPr>
            <p:cNvPr id="43" name="Прямоугольник 42"/>
            <p:cNvSpPr/>
            <p:nvPr/>
          </p:nvSpPr>
          <p:spPr bwMode="auto">
            <a:xfrm>
              <a:off x="342902" y="3709920"/>
              <a:ext cx="2098640" cy="678098"/>
            </a:xfrm>
            <a:prstGeom prst="rect">
              <a:avLst/>
            </a:prstGeom>
            <a:grpFill/>
            <a:ln w="6350">
              <a:noFill/>
              <a:miter lim="800000"/>
              <a:headEnd/>
              <a:tailEnd/>
            </a:ln>
            <a:extLst/>
          </p:spPr>
          <p:txBody>
            <a:bodyPr wrap="none" lIns="108000" tIns="108000" rIns="108000" bIns="1080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kern="0" dirty="0">
                  <a:solidFill>
                    <a:srgbClr val="FFFFFF"/>
                  </a:solidFill>
                  <a:ea typeface="Batang"/>
                  <a:cs typeface="Arial"/>
                </a:rPr>
                <a:t>Масштаб проекта</a:t>
              </a:r>
            </a:p>
          </p:txBody>
        </p:sp>
      </p:grpSp>
      <p:sp>
        <p:nvSpPr>
          <p:cNvPr id="46" name="Прямоугольник 45"/>
          <p:cNvSpPr/>
          <p:nvPr/>
        </p:nvSpPr>
        <p:spPr>
          <a:xfrm>
            <a:off x="2890613" y="3642479"/>
            <a:ext cx="6359007" cy="70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Общая площадь застройки составляет 290 тыс. м</a:t>
            </a:r>
            <a:r>
              <a:rPr lang="ru-RU" sz="1600" baseline="30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2</a:t>
            </a:r>
          </a:p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Высота отдельных зданий достигает 70 м</a:t>
            </a:r>
          </a:p>
        </p:txBody>
      </p:sp>
      <p:grpSp>
        <p:nvGrpSpPr>
          <p:cNvPr id="47" name="Группа 46"/>
          <p:cNvGrpSpPr/>
          <p:nvPr/>
        </p:nvGrpSpPr>
        <p:grpSpPr>
          <a:xfrm>
            <a:off x="497824" y="4524711"/>
            <a:ext cx="2392012" cy="678099"/>
            <a:chOff x="342902" y="4529923"/>
            <a:chExt cx="2270090" cy="678099"/>
          </a:xfrm>
          <a:solidFill>
            <a:schemeClr val="accent2"/>
          </a:solidFill>
        </p:grpSpPr>
        <p:grpSp>
          <p:nvGrpSpPr>
            <p:cNvPr id="48" name="Group 3"/>
            <p:cNvGrpSpPr>
              <a:grpSpLocks/>
            </p:cNvGrpSpPr>
            <p:nvPr/>
          </p:nvGrpSpPr>
          <p:grpSpPr bwMode="auto">
            <a:xfrm>
              <a:off x="2472275" y="4529923"/>
              <a:ext cx="140717" cy="678098"/>
              <a:chOff x="2592" y="1586"/>
              <a:chExt cx="333" cy="1907"/>
            </a:xfrm>
            <a:grpFill/>
          </p:grpSpPr>
          <p:sp>
            <p:nvSpPr>
              <p:cNvPr id="50" name="Rectangle 4"/>
              <p:cNvSpPr>
                <a:spLocks noChangeArrowheads="1"/>
              </p:cNvSpPr>
              <p:nvPr/>
            </p:nvSpPr>
            <p:spPr bwMode="auto">
              <a:xfrm>
                <a:off x="2629" y="1586"/>
                <a:ext cx="69" cy="1907"/>
              </a:xfrm>
              <a:prstGeom prst="rect">
                <a:avLst/>
              </a:prstGeom>
              <a:grp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>
                  <a:solidFill>
                    <a:srgbClr val="000000"/>
                  </a:solidFill>
                  <a:ea typeface="Batang"/>
                  <a:cs typeface="Arial"/>
                </a:endParaRPr>
              </a:p>
            </p:txBody>
          </p:sp>
          <p:sp>
            <p:nvSpPr>
              <p:cNvPr id="51" name="Freeform 5"/>
              <p:cNvSpPr>
                <a:spLocks/>
              </p:cNvSpPr>
              <p:nvPr/>
            </p:nvSpPr>
            <p:spPr bwMode="auto">
              <a:xfrm>
                <a:off x="2592" y="2045"/>
                <a:ext cx="333" cy="784"/>
              </a:xfrm>
              <a:custGeom>
                <a:avLst/>
                <a:gdLst>
                  <a:gd name="T0" fmla="*/ 0 w 240"/>
                  <a:gd name="T1" fmla="*/ 34 h 136"/>
                  <a:gd name="T2" fmla="*/ 110 w 240"/>
                  <a:gd name="T3" fmla="*/ 34 h 136"/>
                  <a:gd name="T4" fmla="*/ 110 w 240"/>
                  <a:gd name="T5" fmla="*/ 0 h 136"/>
                  <a:gd name="T6" fmla="*/ 240 w 240"/>
                  <a:gd name="T7" fmla="*/ 68 h 136"/>
                  <a:gd name="T8" fmla="*/ 106 w 240"/>
                  <a:gd name="T9" fmla="*/ 136 h 136"/>
                  <a:gd name="T10" fmla="*/ 106 w 240"/>
                  <a:gd name="T11" fmla="*/ 102 h 136"/>
                  <a:gd name="T12" fmla="*/ 2 w 240"/>
                  <a:gd name="T13" fmla="*/ 102 h 1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0"/>
                  <a:gd name="T22" fmla="*/ 0 h 136"/>
                  <a:gd name="T23" fmla="*/ 240 w 240"/>
                  <a:gd name="T24" fmla="*/ 136 h 1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0" h="136">
                    <a:moveTo>
                      <a:pt x="0" y="34"/>
                    </a:moveTo>
                    <a:lnTo>
                      <a:pt x="110" y="34"/>
                    </a:lnTo>
                    <a:lnTo>
                      <a:pt x="110" y="0"/>
                    </a:lnTo>
                    <a:lnTo>
                      <a:pt x="240" y="68"/>
                    </a:lnTo>
                    <a:lnTo>
                      <a:pt x="106" y="136"/>
                    </a:lnTo>
                    <a:lnTo>
                      <a:pt x="106" y="102"/>
                    </a:lnTo>
                    <a:lnTo>
                      <a:pt x="2" y="102"/>
                    </a:lnTo>
                  </a:path>
                </a:pathLst>
              </a:custGeom>
              <a:grpFill/>
              <a:ln w="22225">
                <a:solidFill>
                  <a:srgbClr val="14446C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>
                  <a:solidFill>
                    <a:srgbClr val="000000"/>
                  </a:solidFill>
                  <a:ea typeface="Batang"/>
                  <a:cs typeface="Arial"/>
                </a:endParaRPr>
              </a:p>
            </p:txBody>
          </p:sp>
        </p:grpSp>
        <p:sp>
          <p:nvSpPr>
            <p:cNvPr id="49" name="Прямоугольник 48"/>
            <p:cNvSpPr/>
            <p:nvPr/>
          </p:nvSpPr>
          <p:spPr bwMode="auto">
            <a:xfrm>
              <a:off x="342902" y="4529924"/>
              <a:ext cx="2098640" cy="678098"/>
            </a:xfrm>
            <a:prstGeom prst="rect">
              <a:avLst/>
            </a:prstGeom>
            <a:grpFill/>
            <a:ln w="6350">
              <a:noFill/>
              <a:miter lim="800000"/>
              <a:headEnd/>
              <a:tailEnd/>
            </a:ln>
            <a:extLst/>
          </p:spPr>
          <p:txBody>
            <a:bodyPr wrap="none" lIns="108000" tIns="108000" rIns="108000" bIns="1080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kern="0" dirty="0" smtClean="0">
                  <a:solidFill>
                    <a:srgbClr val="FFFFFF"/>
                  </a:solidFill>
                  <a:ea typeface="Batang"/>
                  <a:cs typeface="Arial"/>
                </a:rPr>
                <a:t>Техническая</a:t>
              </a:r>
              <a:br>
                <a:rPr lang="ru-RU" sz="1600" b="1" kern="0" dirty="0" smtClean="0">
                  <a:solidFill>
                    <a:srgbClr val="FFFFFF"/>
                  </a:solidFill>
                  <a:ea typeface="Batang"/>
                  <a:cs typeface="Arial"/>
                </a:rPr>
              </a:br>
              <a:r>
                <a:rPr lang="ru-RU" sz="1600" b="1" kern="0" dirty="0" smtClean="0">
                  <a:solidFill>
                    <a:srgbClr val="FFFFFF"/>
                  </a:solidFill>
                  <a:ea typeface="Batang"/>
                  <a:cs typeface="Arial"/>
                </a:rPr>
                <a:t> </a:t>
              </a:r>
              <a:r>
                <a:rPr lang="ru-RU" sz="1600" b="1" kern="0" dirty="0">
                  <a:solidFill>
                    <a:srgbClr val="FFFFFF"/>
                  </a:solidFill>
                  <a:ea typeface="Batang"/>
                  <a:cs typeface="Arial"/>
                </a:rPr>
                <a:t>сложность</a:t>
              </a:r>
            </a:p>
          </p:txBody>
        </p:sp>
      </p:grpSp>
      <p:sp>
        <p:nvSpPr>
          <p:cNvPr id="52" name="Прямоугольник 51"/>
          <p:cNvSpPr/>
          <p:nvPr/>
        </p:nvSpPr>
        <p:spPr>
          <a:xfrm>
            <a:off x="2877498" y="4514080"/>
            <a:ext cx="63721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Специальные требования к оборудованию, связанные с работой с горючими и хим. активными веществами</a:t>
            </a:r>
          </a:p>
        </p:txBody>
      </p:sp>
      <p:grpSp>
        <p:nvGrpSpPr>
          <p:cNvPr id="53" name="Группа 52"/>
          <p:cNvGrpSpPr/>
          <p:nvPr/>
        </p:nvGrpSpPr>
        <p:grpSpPr>
          <a:xfrm>
            <a:off x="484709" y="5335097"/>
            <a:ext cx="2405110" cy="872603"/>
            <a:chOff x="342902" y="5129875"/>
            <a:chExt cx="2281922" cy="872603"/>
          </a:xfrm>
          <a:solidFill>
            <a:schemeClr val="accent2"/>
          </a:solidFill>
        </p:grpSpPr>
        <p:grpSp>
          <p:nvGrpSpPr>
            <p:cNvPr id="54" name="Group 3"/>
            <p:cNvGrpSpPr>
              <a:grpSpLocks/>
            </p:cNvGrpSpPr>
            <p:nvPr/>
          </p:nvGrpSpPr>
          <p:grpSpPr bwMode="auto">
            <a:xfrm>
              <a:off x="2472275" y="5129875"/>
              <a:ext cx="152549" cy="872602"/>
              <a:chOff x="2592" y="1039"/>
              <a:chExt cx="361" cy="2454"/>
            </a:xfrm>
            <a:grpFill/>
          </p:grpSpPr>
          <p:sp>
            <p:nvSpPr>
              <p:cNvPr id="56" name="Rectangle 4"/>
              <p:cNvSpPr>
                <a:spLocks noChangeArrowheads="1"/>
              </p:cNvSpPr>
              <p:nvPr/>
            </p:nvSpPr>
            <p:spPr bwMode="auto">
              <a:xfrm>
                <a:off x="2595" y="1039"/>
                <a:ext cx="103" cy="2454"/>
              </a:xfrm>
              <a:prstGeom prst="rect">
                <a:avLst/>
              </a:prstGeom>
              <a:grp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>
                  <a:solidFill>
                    <a:srgbClr val="000000"/>
                  </a:solidFill>
                  <a:ea typeface="Batang"/>
                  <a:cs typeface="Arial"/>
                </a:endParaRPr>
              </a:p>
            </p:txBody>
          </p:sp>
          <p:sp>
            <p:nvSpPr>
              <p:cNvPr id="57" name="Freeform 5"/>
              <p:cNvSpPr>
                <a:spLocks/>
              </p:cNvSpPr>
              <p:nvPr/>
            </p:nvSpPr>
            <p:spPr bwMode="auto">
              <a:xfrm>
                <a:off x="2592" y="1968"/>
                <a:ext cx="361" cy="861"/>
              </a:xfrm>
              <a:custGeom>
                <a:avLst/>
                <a:gdLst>
                  <a:gd name="T0" fmla="*/ 0 w 240"/>
                  <a:gd name="T1" fmla="*/ 34 h 136"/>
                  <a:gd name="T2" fmla="*/ 110 w 240"/>
                  <a:gd name="T3" fmla="*/ 34 h 136"/>
                  <a:gd name="T4" fmla="*/ 110 w 240"/>
                  <a:gd name="T5" fmla="*/ 0 h 136"/>
                  <a:gd name="T6" fmla="*/ 240 w 240"/>
                  <a:gd name="T7" fmla="*/ 68 h 136"/>
                  <a:gd name="T8" fmla="*/ 106 w 240"/>
                  <a:gd name="T9" fmla="*/ 136 h 136"/>
                  <a:gd name="T10" fmla="*/ 106 w 240"/>
                  <a:gd name="T11" fmla="*/ 102 h 136"/>
                  <a:gd name="T12" fmla="*/ 2 w 240"/>
                  <a:gd name="T13" fmla="*/ 102 h 1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0"/>
                  <a:gd name="T22" fmla="*/ 0 h 136"/>
                  <a:gd name="T23" fmla="*/ 240 w 240"/>
                  <a:gd name="T24" fmla="*/ 136 h 1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0" h="136">
                    <a:moveTo>
                      <a:pt x="0" y="34"/>
                    </a:moveTo>
                    <a:lnTo>
                      <a:pt x="110" y="34"/>
                    </a:lnTo>
                    <a:lnTo>
                      <a:pt x="110" y="0"/>
                    </a:lnTo>
                    <a:lnTo>
                      <a:pt x="240" y="68"/>
                    </a:lnTo>
                    <a:lnTo>
                      <a:pt x="106" y="136"/>
                    </a:lnTo>
                    <a:lnTo>
                      <a:pt x="106" y="102"/>
                    </a:lnTo>
                    <a:lnTo>
                      <a:pt x="2" y="102"/>
                    </a:lnTo>
                  </a:path>
                </a:pathLst>
              </a:custGeom>
              <a:grpFill/>
              <a:ln w="22225">
                <a:solidFill>
                  <a:srgbClr val="14446C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300" b="1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ru-RU">
                  <a:solidFill>
                    <a:srgbClr val="000000"/>
                  </a:solidFill>
                  <a:ea typeface="Batang"/>
                  <a:cs typeface="Arial"/>
                </a:endParaRPr>
              </a:p>
            </p:txBody>
          </p:sp>
        </p:grpSp>
        <p:sp>
          <p:nvSpPr>
            <p:cNvPr id="55" name="Прямоугольник 54"/>
            <p:cNvSpPr/>
            <p:nvPr/>
          </p:nvSpPr>
          <p:spPr bwMode="auto">
            <a:xfrm>
              <a:off x="342902" y="5130097"/>
              <a:ext cx="2098640" cy="872381"/>
            </a:xfrm>
            <a:prstGeom prst="rect">
              <a:avLst/>
            </a:prstGeom>
            <a:grpFill/>
            <a:ln w="6350">
              <a:noFill/>
              <a:miter lim="800000"/>
              <a:headEnd/>
              <a:tailEnd/>
            </a:ln>
            <a:extLst/>
          </p:spPr>
          <p:txBody>
            <a:bodyPr wrap="square" lIns="108000" tIns="108000" rIns="108000" bIns="1080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kern="0" dirty="0">
                  <a:solidFill>
                    <a:srgbClr val="FFFFFF"/>
                  </a:solidFill>
                  <a:ea typeface="Batang"/>
                  <a:cs typeface="Arial"/>
                </a:rPr>
                <a:t>Удаленность и агрессивная внешняя среда</a:t>
              </a:r>
            </a:p>
          </p:txBody>
        </p:sp>
      </p:grpSp>
      <p:sp>
        <p:nvSpPr>
          <p:cNvPr id="58" name="Прямоугольник 57"/>
          <p:cNvSpPr/>
          <p:nvPr/>
        </p:nvSpPr>
        <p:spPr>
          <a:xfrm>
            <a:off x="2889836" y="5334963"/>
            <a:ext cx="63722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base">
              <a:spcBef>
                <a:spcPts val="60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Условия крайнего Севера – необходимость строительства дополнительной инфраструктуры, территориальная удаленность проекта</a:t>
            </a:r>
          </a:p>
        </p:txBody>
      </p:sp>
      <p:sp>
        <p:nvSpPr>
          <p:cNvPr id="59" name="Line 14"/>
          <p:cNvSpPr>
            <a:spLocks noChangeShapeType="1"/>
          </p:cNvSpPr>
          <p:nvPr/>
        </p:nvSpPr>
        <p:spPr bwMode="gray">
          <a:xfrm>
            <a:off x="497824" y="2185893"/>
            <a:ext cx="6620158" cy="0"/>
          </a:xfrm>
          <a:prstGeom prst="line">
            <a:avLst/>
          </a:prstGeom>
          <a:noFill/>
          <a:ln w="28575">
            <a:solidFill>
              <a:srgbClr val="14446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C2941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1005430">
              <a:defRPr/>
            </a:pPr>
            <a:endParaRPr lang="ru-RU" sz="2000" kern="0" dirty="0">
              <a:solidFill>
                <a:sysClr val="windowText" lastClr="000000"/>
              </a:solidFill>
              <a:latin typeface="Arial"/>
              <a:ea typeface="Batang"/>
              <a:cs typeface="Arial"/>
            </a:endParaRPr>
          </a:p>
        </p:txBody>
      </p:sp>
      <p:pic>
        <p:nvPicPr>
          <p:cNvPr id="60" name="Рисунок 5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737884" y="2711025"/>
            <a:ext cx="1919888" cy="1625165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738130" y="978099"/>
            <a:ext cx="1919888" cy="1598601"/>
          </a:xfrm>
          <a:prstGeom prst="rect">
            <a:avLst/>
          </a:prstGeom>
        </p:spPr>
      </p:pic>
      <p:sp>
        <p:nvSpPr>
          <p:cNvPr id="62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37436" y="175927"/>
            <a:ext cx="7571157" cy="815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1183" rIns="0" bIns="41183" numCol="1" anchor="t" anchorCtr="0" compatLnSpc="1">
            <a:prstTxWarp prst="textNoShape">
              <a:avLst/>
            </a:prstTxWarp>
          </a:bodyPr>
          <a:lstStyle>
            <a:lvl1pPr marL="336550" indent="-33655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FF0000"/>
              </a:buClr>
              <a:buFont typeface="Arial" pitchFamily="34" charset="0"/>
              <a:buChar char="•"/>
              <a:defRPr sz="12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7650" indent="-2460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Arial Unicode MS" pitchFamily="34" charset="-128"/>
                <a:cs typeface="+mn-cs"/>
              </a:defRPr>
            </a:lvl2pPr>
            <a:lvl3pPr marL="520700" indent="-2667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SzPct val="150000"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4225" indent="-257175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7750" indent="-2587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330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6167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9065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6195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  <a:tabLst>
                <a:tab pos="4870814" algn="l"/>
              </a:tabLst>
              <a:defRPr/>
            </a:pPr>
            <a:r>
              <a:rPr lang="ru-RU" sz="2000" dirty="0">
                <a:solidFill>
                  <a:srgbClr val="0077C8"/>
                </a:solidFill>
                <a:latin typeface="+mj-lt"/>
                <a:ea typeface="+mj-ea"/>
                <a:cs typeface="+mj-cs"/>
              </a:rPr>
              <a:t>Характеристики «Серного проекта» с производством элементарной серы</a:t>
            </a:r>
            <a:endParaRPr lang="en-US" altLang="zh-CN" sz="2000" dirty="0">
              <a:solidFill>
                <a:srgbClr val="0077C8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48100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EAAE0C-34C4-4CF4-8C95-E443F085D2CE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983432" y="965526"/>
            <a:ext cx="11017224" cy="3893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Завершен вывод из эксплуатации цеха обжига концентрата и переход на современную технологию брикетирования. </a:t>
            </a:r>
            <a:r>
              <a:rPr lang="ru-RU" b="1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Выбросы снижены на 90%. </a:t>
            </a:r>
          </a:p>
          <a:p>
            <a:pPr algn="just"/>
            <a:r>
              <a:rPr lang="ru-RU" u="sng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Общие затраты более 2,8 млрд рублей.</a:t>
            </a:r>
          </a:p>
          <a:p>
            <a:pPr algn="just"/>
            <a:endParaRPr lang="ru-RU" dirty="0">
              <a:solidFill>
                <a:srgbClr val="164463"/>
              </a:solidFill>
              <a:ea typeface="Batang"/>
              <a:cs typeface="Times New Roman" pitchFamily="18" charset="0"/>
            </a:endParaRPr>
          </a:p>
          <a:p>
            <a:pPr algn="just"/>
            <a:r>
              <a:rPr lang="ru-RU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Изменена технология работы </a:t>
            </a:r>
            <a:r>
              <a:rPr lang="ru-RU" dirty="0" err="1">
                <a:solidFill>
                  <a:srgbClr val="164463"/>
                </a:solidFill>
                <a:ea typeface="Batang"/>
                <a:cs typeface="Times New Roman" pitchFamily="18" charset="0"/>
              </a:rPr>
              <a:t>плавцеха</a:t>
            </a:r>
            <a:r>
              <a:rPr lang="ru-RU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 – освоена плавка нового вида сырья, на </a:t>
            </a:r>
            <a:br>
              <a:rPr lang="ru-RU" dirty="0">
                <a:solidFill>
                  <a:srgbClr val="164463"/>
                </a:solidFill>
                <a:ea typeface="Batang"/>
                <a:cs typeface="Times New Roman" pitchFamily="18" charset="0"/>
              </a:rPr>
            </a:br>
            <a:r>
              <a:rPr lang="ru-RU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100% состоящего из брикетов. Запланирована модернизация действующих рудно-термических печей, </a:t>
            </a:r>
            <a:r>
              <a:rPr lang="ru-RU" b="1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позволяющая свести до минимума общее </a:t>
            </a:r>
            <a:r>
              <a:rPr lang="ru-RU" b="1" dirty="0" err="1">
                <a:solidFill>
                  <a:srgbClr val="164463"/>
                </a:solidFill>
                <a:ea typeface="Batang"/>
                <a:cs typeface="Times New Roman" pitchFamily="18" charset="0"/>
              </a:rPr>
              <a:t>газовыделение</a:t>
            </a:r>
            <a:r>
              <a:rPr lang="ru-RU" b="1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 цеха в атмосферу, не менее чем на 40%. </a:t>
            </a:r>
            <a:r>
              <a:rPr lang="ru-RU" u="sng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Суммарная стоимость мероприятий составляет около 2,3 млрд руб.</a:t>
            </a:r>
          </a:p>
          <a:p>
            <a:pPr algn="just"/>
            <a:endParaRPr lang="ru-RU" dirty="0">
              <a:solidFill>
                <a:srgbClr val="164463"/>
              </a:solidFill>
              <a:ea typeface="Batang"/>
              <a:cs typeface="Times New Roman" pitchFamily="18" charset="0"/>
            </a:endParaRPr>
          </a:p>
          <a:p>
            <a:pPr algn="just"/>
            <a:r>
              <a:rPr lang="ru-RU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Важнейшим достижением по снижению воздействия на окружающую среду также является </a:t>
            </a:r>
            <a:r>
              <a:rPr lang="ru-RU" b="1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ввод в строй участка утилизации солевого стока никелевого рафинирования. </a:t>
            </a:r>
            <a:r>
              <a:rPr lang="ru-RU" dirty="0" smtClean="0">
                <a:solidFill>
                  <a:srgbClr val="164463"/>
                </a:solidFill>
                <a:ea typeface="Batang"/>
                <a:cs typeface="Times New Roman" pitchFamily="18" charset="0"/>
              </a:rPr>
              <a:t>Сокращены </a:t>
            </a:r>
            <a:r>
              <a:rPr lang="ru-RU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сбросы промышленных стоков в водоемы г. Мончегорска, ощутимо снизились выбросы.</a:t>
            </a:r>
            <a:r>
              <a:rPr lang="ru-RU" u="sng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 Стоимость проекта: 1,685 млрд руб. </a:t>
            </a:r>
            <a:endParaRPr lang="ru-RU" dirty="0">
              <a:solidFill>
                <a:srgbClr val="164463"/>
              </a:solidFill>
              <a:ea typeface="Batang"/>
              <a:cs typeface="Times New Roman" pitchFamily="18" charset="0"/>
            </a:endParaRPr>
          </a:p>
          <a:p>
            <a:pPr algn="just"/>
            <a:endParaRPr lang="ru-RU" sz="1300" dirty="0">
              <a:solidFill>
                <a:srgbClr val="164463"/>
              </a:solidFill>
              <a:latin typeface="Arial" charset="0"/>
              <a:ea typeface="Batang"/>
              <a:cs typeface="Times New Roman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9682" y="4610531"/>
            <a:ext cx="2756838" cy="162678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511" y="4612048"/>
            <a:ext cx="2775025" cy="161380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0031" y="4612450"/>
            <a:ext cx="2787210" cy="161037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9596" y="4610532"/>
            <a:ext cx="2763502" cy="1626781"/>
          </a:xfrm>
          <a:prstGeom prst="rect">
            <a:avLst/>
          </a:prstGeom>
        </p:spPr>
      </p:pic>
      <p:sp>
        <p:nvSpPr>
          <p:cNvPr id="9" name="Овал 8"/>
          <p:cNvSpPr/>
          <p:nvPr/>
        </p:nvSpPr>
        <p:spPr bwMode="auto">
          <a:xfrm>
            <a:off x="530831" y="1000805"/>
            <a:ext cx="432000" cy="432000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85750" indent="-285750" algn="ctr" defTabSz="914218" eaLnBrk="0" hangingPunct="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36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0" name="Овал 9"/>
          <p:cNvSpPr/>
          <p:nvPr/>
        </p:nvSpPr>
        <p:spPr bwMode="auto">
          <a:xfrm>
            <a:off x="551432" y="2060848"/>
            <a:ext cx="432000" cy="432000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85750" indent="-285750" algn="ctr" defTabSz="914218" eaLnBrk="0" hangingPunct="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36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1" name="Овал 10"/>
          <p:cNvSpPr/>
          <p:nvPr/>
        </p:nvSpPr>
        <p:spPr bwMode="auto">
          <a:xfrm>
            <a:off x="530831" y="3429000"/>
            <a:ext cx="432000" cy="432000"/>
          </a:xfrm>
          <a:prstGeom prst="ellipse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85750" indent="-285750" algn="ctr" defTabSz="914218" eaLnBrk="0" hangingPunct="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36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3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7368" y="421364"/>
            <a:ext cx="7571157" cy="815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1183" rIns="0" bIns="41183" numCol="1" anchor="t" anchorCtr="0" compatLnSpc="1">
            <a:prstTxWarp prst="textNoShape">
              <a:avLst/>
            </a:prstTxWarp>
          </a:bodyPr>
          <a:lstStyle>
            <a:lvl1pPr marL="336550" indent="-33655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FF0000"/>
              </a:buClr>
              <a:buFont typeface="Arial" pitchFamily="34" charset="0"/>
              <a:buChar char="•"/>
              <a:defRPr sz="12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7650" indent="-2460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Arial Unicode MS" pitchFamily="34" charset="-128"/>
                <a:cs typeface="+mn-cs"/>
              </a:defRPr>
            </a:lvl2pPr>
            <a:lvl3pPr marL="520700" indent="-2667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SzPct val="150000"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4225" indent="-257175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7750" indent="-2587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330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6167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9065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6195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  <a:tabLst>
                <a:tab pos="4870814" algn="l"/>
              </a:tabLst>
              <a:defRPr/>
            </a:pPr>
            <a:r>
              <a:rPr lang="ru-RU" altLang="zh-CN" sz="2000" dirty="0">
                <a:solidFill>
                  <a:srgbClr val="0077C8"/>
                </a:solidFill>
                <a:latin typeface="+mj-lt"/>
                <a:ea typeface="+mj-ea"/>
                <a:cs typeface="+mj-cs"/>
              </a:rPr>
              <a:t>Итоги экологических проектов Кольской ГМК</a:t>
            </a:r>
            <a:endParaRPr lang="en-US" altLang="zh-CN" sz="2000" dirty="0">
              <a:solidFill>
                <a:srgbClr val="0077C8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7677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EAAE0C-34C4-4CF4-8C95-E443F085D2CE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381681" y="1052736"/>
            <a:ext cx="625105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5113" algn="just"/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«</a:t>
            </a:r>
            <a:r>
              <a:rPr lang="ru-RU" sz="2000" dirty="0" err="1">
                <a:solidFill>
                  <a:srgbClr val="164463"/>
                </a:solidFill>
                <a:ea typeface="Batang"/>
                <a:cs typeface="Times New Roman" pitchFamily="18" charset="0"/>
              </a:rPr>
              <a:t>Норникель</a:t>
            </a: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» придает особое значение сохранению арктического биоразнообразия. Компания поддерживает природные заповедники «</a:t>
            </a:r>
            <a:r>
              <a:rPr lang="ru-RU" sz="2000" dirty="0" err="1">
                <a:solidFill>
                  <a:srgbClr val="164463"/>
                </a:solidFill>
                <a:ea typeface="Batang"/>
                <a:cs typeface="Times New Roman" pitchFamily="18" charset="0"/>
              </a:rPr>
              <a:t>Пасвик</a:t>
            </a: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», «Лапландский» и «</a:t>
            </a:r>
            <a:r>
              <a:rPr lang="ru-RU" sz="2000" dirty="0" err="1">
                <a:solidFill>
                  <a:srgbClr val="164463"/>
                </a:solidFill>
                <a:ea typeface="Batang"/>
                <a:cs typeface="Times New Roman" pitchFamily="18" charset="0"/>
              </a:rPr>
              <a:t>Путоранский</a:t>
            </a: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». </a:t>
            </a:r>
          </a:p>
          <a:p>
            <a:pPr indent="265113" algn="just"/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В январе текущего года в Мурманской области был открыт визит-центр «</a:t>
            </a:r>
            <a:r>
              <a:rPr lang="ru-RU" sz="2000" dirty="0" err="1">
                <a:solidFill>
                  <a:srgbClr val="164463"/>
                </a:solidFill>
                <a:ea typeface="Batang"/>
                <a:cs typeface="Times New Roman" pitchFamily="18" charset="0"/>
              </a:rPr>
              <a:t>Пасвика</a:t>
            </a:r>
            <a:r>
              <a:rPr lang="ru-RU" sz="2000" dirty="0">
                <a:solidFill>
                  <a:srgbClr val="164463"/>
                </a:solidFill>
                <a:ea typeface="Batang"/>
                <a:cs typeface="Times New Roman" pitchFamily="18" charset="0"/>
              </a:rPr>
              <a:t>». Стоимость проекта - более 70 млн рублей.</a:t>
            </a:r>
          </a:p>
        </p:txBody>
      </p:sp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1681" y="193301"/>
            <a:ext cx="7571157" cy="815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1183" rIns="0" bIns="41183" numCol="1" anchor="t" anchorCtr="0" compatLnSpc="1">
            <a:prstTxWarp prst="textNoShape">
              <a:avLst/>
            </a:prstTxWarp>
          </a:bodyPr>
          <a:lstStyle>
            <a:lvl1pPr marL="336550" indent="-33655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FF0000"/>
              </a:buClr>
              <a:buFont typeface="Arial" pitchFamily="34" charset="0"/>
              <a:buChar char="•"/>
              <a:defRPr sz="12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47650" indent="-2460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Arial Unicode MS" pitchFamily="34" charset="-128"/>
                <a:cs typeface="+mn-cs"/>
              </a:defRPr>
            </a:lvl2pPr>
            <a:lvl3pPr marL="520700" indent="-2667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SzPct val="150000"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4225" indent="-257175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7750" indent="-258763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330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6167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9065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61953" indent="-262605" algn="l" rtl="0" fontAlgn="base"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  <a:tabLst>
                <a:tab pos="4870814" algn="l"/>
              </a:tabLst>
              <a:defRPr/>
            </a:pPr>
            <a:r>
              <a:rPr lang="ru-RU" sz="2000" dirty="0">
                <a:solidFill>
                  <a:srgbClr val="0077C8"/>
                </a:solidFill>
                <a:latin typeface="+mj-lt"/>
                <a:ea typeface="+mj-ea"/>
                <a:cs typeface="+mj-cs"/>
              </a:rPr>
              <a:t>Поддержка биоразнообразия: заповедники «</a:t>
            </a:r>
            <a:r>
              <a:rPr lang="ru-RU" sz="2000" dirty="0" err="1">
                <a:solidFill>
                  <a:srgbClr val="0077C8"/>
                </a:solidFill>
                <a:latin typeface="+mj-lt"/>
                <a:ea typeface="+mj-ea"/>
                <a:cs typeface="+mj-cs"/>
              </a:rPr>
              <a:t>Пасвик</a:t>
            </a:r>
            <a:r>
              <a:rPr lang="ru-RU" sz="2000" dirty="0">
                <a:solidFill>
                  <a:srgbClr val="0077C8"/>
                </a:solidFill>
                <a:latin typeface="+mj-lt"/>
                <a:ea typeface="+mj-ea"/>
                <a:cs typeface="+mj-cs"/>
              </a:rPr>
              <a:t>», «Лапландский» и «</a:t>
            </a:r>
            <a:r>
              <a:rPr lang="ru-RU" sz="2000" dirty="0" err="1">
                <a:solidFill>
                  <a:srgbClr val="0077C8"/>
                </a:solidFill>
                <a:latin typeface="+mj-lt"/>
                <a:ea typeface="+mj-ea"/>
                <a:cs typeface="+mj-cs"/>
              </a:rPr>
              <a:t>Путоранский</a:t>
            </a:r>
            <a:r>
              <a:rPr lang="ru-RU" sz="2000" dirty="0">
                <a:solidFill>
                  <a:srgbClr val="0077C8"/>
                </a:solidFill>
                <a:latin typeface="+mj-lt"/>
                <a:ea typeface="+mj-ea"/>
                <a:cs typeface="+mj-cs"/>
              </a:rPr>
              <a:t>»</a:t>
            </a:r>
            <a:endParaRPr lang="en-US" altLang="zh-CN" sz="2000" dirty="0">
              <a:solidFill>
                <a:srgbClr val="0077C8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224" y="3543018"/>
            <a:ext cx="4269616" cy="270678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6120" y="981576"/>
            <a:ext cx="3960440" cy="256144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576" y="3551860"/>
            <a:ext cx="5922984" cy="2706783"/>
          </a:xfrm>
          <a:prstGeom prst="rect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367040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heme/theme1.xml><?xml version="1.0" encoding="utf-8"?>
<a:theme xmlns:a="http://schemas.openxmlformats.org/drawingml/2006/main" name="4_Тема Office">
  <a:themeElements>
    <a:clrScheme name="НорНикель основной">
      <a:dk1>
        <a:srgbClr val="2B2A29"/>
      </a:dk1>
      <a:lt1>
        <a:sysClr val="window" lastClr="FFFFFF"/>
      </a:lt1>
      <a:dk2>
        <a:srgbClr val="DA6969"/>
      </a:dk2>
      <a:lt2>
        <a:srgbClr val="EF7F1A"/>
      </a:lt2>
      <a:accent1>
        <a:srgbClr val="004C97"/>
      </a:accent1>
      <a:accent2>
        <a:srgbClr val="0077C8"/>
      </a:accent2>
      <a:accent3>
        <a:srgbClr val="4DA2D7"/>
      </a:accent3>
      <a:accent4>
        <a:srgbClr val="A9D4EA"/>
      </a:accent4>
      <a:accent5>
        <a:srgbClr val="626262"/>
      </a:accent5>
      <a:accent6>
        <a:srgbClr val="9D9E9E"/>
      </a:accent6>
      <a:hlink>
        <a:srgbClr val="0077C8"/>
      </a:hlink>
      <a:folHlink>
        <a:srgbClr val="9D9E9E"/>
      </a:folHlink>
    </a:clrScheme>
    <a:fontScheme name="НорНикель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5_Тема Office">
  <a:themeElements>
    <a:clrScheme name="НорНикель основной">
      <a:dk1>
        <a:srgbClr val="2B2A29"/>
      </a:dk1>
      <a:lt1>
        <a:sysClr val="window" lastClr="FFFFFF"/>
      </a:lt1>
      <a:dk2>
        <a:srgbClr val="DA6969"/>
      </a:dk2>
      <a:lt2>
        <a:srgbClr val="EF7F1A"/>
      </a:lt2>
      <a:accent1>
        <a:srgbClr val="004C97"/>
      </a:accent1>
      <a:accent2>
        <a:srgbClr val="0077C8"/>
      </a:accent2>
      <a:accent3>
        <a:srgbClr val="4DA2D7"/>
      </a:accent3>
      <a:accent4>
        <a:srgbClr val="A9D4EA"/>
      </a:accent4>
      <a:accent5>
        <a:srgbClr val="626262"/>
      </a:accent5>
      <a:accent6>
        <a:srgbClr val="9D9E9E"/>
      </a:accent6>
      <a:hlink>
        <a:srgbClr val="0077C8"/>
      </a:hlink>
      <a:folHlink>
        <a:srgbClr val="9D9E9E"/>
      </a:folHlink>
    </a:clrScheme>
    <a:fontScheme name="НорНикель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67</TotalTime>
  <Words>429</Words>
  <Application>Microsoft Office PowerPoint</Application>
  <PresentationFormat>Широкоэкранный</PresentationFormat>
  <Paragraphs>74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4" baseType="lpstr">
      <vt:lpstr>Batang</vt:lpstr>
      <vt:lpstr>Arial</vt:lpstr>
      <vt:lpstr>Tahoma</vt:lpstr>
      <vt:lpstr>Times New Roman</vt:lpstr>
      <vt:lpstr>Wingdings</vt:lpstr>
      <vt:lpstr>4_Тема Office</vt:lpstr>
      <vt:lpstr>5_Тема Office</vt:lpstr>
      <vt:lpstr>think-cell Slide</vt:lpstr>
      <vt:lpstr>«Лидеры российского бизнеса: динамика и ответственность - 2016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vetlana Dmitrieva</dc:creator>
  <cp:lastModifiedBy>Коростелев Никита Александрович</cp:lastModifiedBy>
  <cp:revision>1703</cp:revision>
  <cp:lastPrinted>2017-04-05T07:40:13Z</cp:lastPrinted>
  <dcterms:created xsi:type="dcterms:W3CDTF">2016-04-19T09:39:58Z</dcterms:created>
  <dcterms:modified xsi:type="dcterms:W3CDTF">2017-04-05T08:43:11Z</dcterms:modified>
</cp:coreProperties>
</file>